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9.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1.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2.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3.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1" r:id="rId5"/>
    <p:sldMasterId id="2147483663" r:id="rId6"/>
    <p:sldMasterId id="2147483693" r:id="rId7"/>
    <p:sldMasterId id="2147483726" r:id="rId8"/>
    <p:sldMasterId id="2147483744" r:id="rId9"/>
    <p:sldMasterId id="2147483763" r:id="rId10"/>
    <p:sldMasterId id="2147483786" r:id="rId11"/>
    <p:sldMasterId id="2147483820" r:id="rId12"/>
    <p:sldMasterId id="2147483852" r:id="rId13"/>
    <p:sldMasterId id="2147483886" r:id="rId14"/>
    <p:sldMasterId id="2147483921" r:id="rId15"/>
    <p:sldMasterId id="2147483957" r:id="rId16"/>
    <p:sldMasterId id="2147483993" r:id="rId17"/>
    <p:sldMasterId id="2147484030" r:id="rId18"/>
    <p:sldMasterId id="2147484066" r:id="rId19"/>
  </p:sldMasterIdLst>
  <p:notesMasterIdLst>
    <p:notesMasterId r:id="rId37"/>
  </p:notesMasterIdLst>
  <p:handoutMasterIdLst>
    <p:handoutMasterId r:id="rId38"/>
  </p:handoutMasterIdLst>
  <p:sldIdLst>
    <p:sldId id="539" r:id="rId20"/>
    <p:sldId id="544" r:id="rId21"/>
    <p:sldId id="260" r:id="rId22"/>
    <p:sldId id="541" r:id="rId23"/>
    <p:sldId id="543" r:id="rId24"/>
    <p:sldId id="558" r:id="rId25"/>
    <p:sldId id="559" r:id="rId26"/>
    <p:sldId id="2076136265" r:id="rId27"/>
    <p:sldId id="560" r:id="rId28"/>
    <p:sldId id="562" r:id="rId29"/>
    <p:sldId id="2076136272" r:id="rId30"/>
    <p:sldId id="2076136266" r:id="rId31"/>
    <p:sldId id="2076136270" r:id="rId32"/>
    <p:sldId id="561" r:id="rId33"/>
    <p:sldId id="2076136271" r:id="rId34"/>
    <p:sldId id="557" r:id="rId35"/>
    <p:sldId id="507" r:id="rId36"/>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lvl9pPr>
  </p:defaultTextStyle>
  <p:modifyVerifier cryptProviderType="rsaAES" cryptAlgorithmClass="hash" cryptAlgorithmType="typeAny" cryptAlgorithmSid="14" spinCount="100000" saltData="nlr0Yx/++q18kC9S8kz52A==" hashData="BLc5VZFRCvqnx2WJdbwk6Y8f9s3vlxeYOc4lczOYF6z5EIBIdGE3dfcoVApXD3iHM/sz4LLVSzJy2b0Avy3CZg=="/>
  <p:extLst>
    <p:ext uri="{EFAFB233-063F-42B5-8137-9DF3F51BA10A}">
      <p15:sldGuideLst xmlns:p15="http://schemas.microsoft.com/office/powerpoint/2012/main">
        <p15:guide id="1" orient="horz" pos="1076">
          <p15:clr>
            <a:srgbClr val="A4A3A4"/>
          </p15:clr>
        </p15:guide>
        <p15:guide id="2" pos="40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 Lawton" initials="CL" lastIdx="9" clrIdx="0">
    <p:extLst>
      <p:ext uri="{19B8F6BF-5375-455C-9EA6-DF929625EA0E}">
        <p15:presenceInfo xmlns:p15="http://schemas.microsoft.com/office/powerpoint/2012/main" userId="1a6e9ec0320fd68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93B8"/>
    <a:srgbClr val="475053"/>
    <a:srgbClr val="4B5050"/>
    <a:srgbClr val="CA2B33"/>
    <a:srgbClr val="5E6061"/>
    <a:srgbClr val="B93A3A"/>
    <a:srgbClr val="989898"/>
    <a:srgbClr val="DC002A"/>
    <a:srgbClr val="DC012A"/>
    <a:srgbClr val="3434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DB4036-877B-48E4-923D-4232E3F92D73}" v="1" dt="2020-04-10T17:15:53.763"/>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E2CD"/>
          </a:solidFill>
        </a:fill>
      </a:tcStyle>
    </a:wholeTbl>
    <a:band2H>
      <a:tcTxStyle/>
      <a:tcStyle>
        <a:tcBdr/>
        <a:fill>
          <a:solidFill>
            <a:srgbClr val="FFF1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5DBDE"/>
          </a:solidFill>
        </a:fill>
      </a:tcStyle>
    </a:wholeTbl>
    <a:band2H>
      <a:tcTxStyle/>
      <a:tcStyle>
        <a:tcBdr/>
        <a:fill>
          <a:solidFill>
            <a:srgbClr val="EBEEEF"/>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8FFCD"/>
          </a:solidFill>
        </a:fill>
      </a:tcStyle>
    </a:wholeTbl>
    <a:band2H>
      <a:tcTxStyle/>
      <a:tcStyle>
        <a:tcBdr/>
        <a:fill>
          <a:solidFill>
            <a:srgbClr val="FCFF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3" d="100"/>
          <a:sy n="153" d="100"/>
        </p:scale>
        <p:origin x="115" y="490"/>
      </p:cViewPr>
      <p:guideLst>
        <p:guide orient="horz" pos="1076"/>
        <p:guide pos="401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commentAuthors" Target="commentAuthors.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handoutMaster" Target="handoutMasters/handoutMaster1.xml"/><Relationship Id="rId20" Type="http://schemas.openxmlformats.org/officeDocument/2006/relationships/slide" Target="slides/slide1.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an Littlemore" userId="e455dac8-f9aa-4cf6-ad37-fb5765c604eb" providerId="ADAL" clId="{EA211CAE-69AE-46BB-9A8D-1393CBDD3061}"/>
    <pc:docChg chg="undo custSel addSld delSld modSld sldOrd modSection">
      <pc:chgData name="Ryan Littlemore" userId="e455dac8-f9aa-4cf6-ad37-fb5765c604eb" providerId="ADAL" clId="{EA211CAE-69AE-46BB-9A8D-1393CBDD3061}" dt="2019-06-13T19:00:39.811" v="636" actId="1037"/>
      <pc:docMkLst>
        <pc:docMk/>
      </pc:docMkLst>
      <pc:sldChg chg="delSp modSp add del ord">
        <pc:chgData name="Ryan Littlemore" userId="e455dac8-f9aa-4cf6-ad37-fb5765c604eb" providerId="ADAL" clId="{EA211CAE-69AE-46BB-9A8D-1393CBDD3061}" dt="2019-06-13T18:54:39.066" v="343" actId="20577"/>
        <pc:sldMkLst>
          <pc:docMk/>
          <pc:sldMk cId="440760351" sldId="258"/>
        </pc:sldMkLst>
        <pc:spChg chg="mod">
          <ac:chgData name="Ryan Littlemore" userId="e455dac8-f9aa-4cf6-ad37-fb5765c604eb" providerId="ADAL" clId="{EA211CAE-69AE-46BB-9A8D-1393CBDD3061}" dt="2019-06-13T18:54:39.066" v="343" actId="20577"/>
          <ac:spMkLst>
            <pc:docMk/>
            <pc:sldMk cId="440760351" sldId="258"/>
            <ac:spMk id="2" creationId="{39233361-26D1-4118-99CB-A5545E724B8F}"/>
          </ac:spMkLst>
        </pc:spChg>
        <pc:picChg chg="del">
          <ac:chgData name="Ryan Littlemore" userId="e455dac8-f9aa-4cf6-ad37-fb5765c604eb" providerId="ADAL" clId="{EA211CAE-69AE-46BB-9A8D-1393CBDD3061}" dt="2019-06-13T18:51:59.333" v="192" actId="478"/>
          <ac:picMkLst>
            <pc:docMk/>
            <pc:sldMk cId="440760351" sldId="258"/>
            <ac:picMk id="5" creationId="{FE8F569A-3399-4E31-8792-1EEC9A11E257}"/>
          </ac:picMkLst>
        </pc:picChg>
      </pc:sldChg>
      <pc:sldChg chg="delSp modSp">
        <pc:chgData name="Ryan Littlemore" userId="e455dac8-f9aa-4cf6-ad37-fb5765c604eb" providerId="ADAL" clId="{EA211CAE-69AE-46BB-9A8D-1393CBDD3061}" dt="2019-06-13T18:52:43.939" v="232" actId="478"/>
        <pc:sldMkLst>
          <pc:docMk/>
          <pc:sldMk cId="1826063434" sldId="260"/>
        </pc:sldMkLst>
        <pc:spChg chg="mod">
          <ac:chgData name="Ryan Littlemore" userId="e455dac8-f9aa-4cf6-ad37-fb5765c604eb" providerId="ADAL" clId="{EA211CAE-69AE-46BB-9A8D-1393CBDD3061}" dt="2019-06-13T18:46:14.987" v="8" actId="27636"/>
          <ac:spMkLst>
            <pc:docMk/>
            <pc:sldMk cId="1826063434" sldId="260"/>
            <ac:spMk id="3" creationId="{FB77A8A2-BD64-4C21-977E-EAC2AC092B8D}"/>
          </ac:spMkLst>
        </pc:spChg>
        <pc:picChg chg="del mod">
          <ac:chgData name="Ryan Littlemore" userId="e455dac8-f9aa-4cf6-ad37-fb5765c604eb" providerId="ADAL" clId="{EA211CAE-69AE-46BB-9A8D-1393CBDD3061}" dt="2019-06-13T18:52:43.939" v="232" actId="478"/>
          <ac:picMkLst>
            <pc:docMk/>
            <pc:sldMk cId="1826063434" sldId="260"/>
            <ac:picMk id="4" creationId="{E5D5579B-6F53-4045-93C3-E640079905E5}"/>
          </ac:picMkLst>
        </pc:picChg>
      </pc:sldChg>
      <pc:sldChg chg="addSp modSp">
        <pc:chgData name="Ryan Littlemore" userId="e455dac8-f9aa-4cf6-ad37-fb5765c604eb" providerId="ADAL" clId="{EA211CAE-69AE-46BB-9A8D-1393CBDD3061}" dt="2019-06-13T19:00:39.811" v="636" actId="1037"/>
        <pc:sldMkLst>
          <pc:docMk/>
          <pc:sldMk cId="2323985547" sldId="507"/>
        </pc:sldMkLst>
        <pc:spChg chg="mod">
          <ac:chgData name="Ryan Littlemore" userId="e455dac8-f9aa-4cf6-ad37-fb5765c604eb" providerId="ADAL" clId="{EA211CAE-69AE-46BB-9A8D-1393CBDD3061}" dt="2019-06-13T18:59:38.013" v="561" actId="14100"/>
          <ac:spMkLst>
            <pc:docMk/>
            <pc:sldMk cId="2323985547" sldId="507"/>
            <ac:spMk id="8" creationId="{74A33EC3-FBD0-D543-A425-400839C82DB1}"/>
          </ac:spMkLst>
        </pc:spChg>
        <pc:spChg chg="mod">
          <ac:chgData name="Ryan Littlemore" userId="e455dac8-f9aa-4cf6-ad37-fb5765c604eb" providerId="ADAL" clId="{EA211CAE-69AE-46BB-9A8D-1393CBDD3061}" dt="2019-06-13T18:59:14.842" v="559" actId="1037"/>
          <ac:spMkLst>
            <pc:docMk/>
            <pc:sldMk cId="2323985547" sldId="507"/>
            <ac:spMk id="13" creationId="{2593C79D-109F-4C4E-8A6E-86D6384C04E6}"/>
          </ac:spMkLst>
        </pc:spChg>
        <pc:spChg chg="mod">
          <ac:chgData name="Ryan Littlemore" userId="e455dac8-f9aa-4cf6-ad37-fb5765c604eb" providerId="ADAL" clId="{EA211CAE-69AE-46BB-9A8D-1393CBDD3061}" dt="2019-06-13T18:59:14.842" v="559" actId="1037"/>
          <ac:spMkLst>
            <pc:docMk/>
            <pc:sldMk cId="2323985547" sldId="507"/>
            <ac:spMk id="16" creationId="{F9F85FC8-E30E-4480-B06A-6048B44B8719}"/>
          </ac:spMkLst>
        </pc:spChg>
        <pc:spChg chg="mod">
          <ac:chgData name="Ryan Littlemore" userId="e455dac8-f9aa-4cf6-ad37-fb5765c604eb" providerId="ADAL" clId="{EA211CAE-69AE-46BB-9A8D-1393CBDD3061}" dt="2019-06-13T18:59:14.842" v="559" actId="1037"/>
          <ac:spMkLst>
            <pc:docMk/>
            <pc:sldMk cId="2323985547" sldId="507"/>
            <ac:spMk id="18" creationId="{58060306-9E65-4571-A72E-EB1CE75776CD}"/>
          </ac:spMkLst>
        </pc:spChg>
        <pc:spChg chg="mod">
          <ac:chgData name="Ryan Littlemore" userId="e455dac8-f9aa-4cf6-ad37-fb5765c604eb" providerId="ADAL" clId="{EA211CAE-69AE-46BB-9A8D-1393CBDD3061}" dt="2019-06-13T18:58:54.722" v="522" actId="1036"/>
          <ac:spMkLst>
            <pc:docMk/>
            <pc:sldMk cId="2323985547" sldId="507"/>
            <ac:spMk id="21" creationId="{6BACF456-4E43-4B3F-9E69-F171B3659121}"/>
          </ac:spMkLst>
        </pc:spChg>
        <pc:spChg chg="mod">
          <ac:chgData name="Ryan Littlemore" userId="e455dac8-f9aa-4cf6-ad37-fb5765c604eb" providerId="ADAL" clId="{EA211CAE-69AE-46BB-9A8D-1393CBDD3061}" dt="2019-06-13T18:58:54.722" v="522" actId="1036"/>
          <ac:spMkLst>
            <pc:docMk/>
            <pc:sldMk cId="2323985547" sldId="507"/>
            <ac:spMk id="23" creationId="{5BE16098-11B1-4603-B656-6BE9F4864C2E}"/>
          </ac:spMkLst>
        </pc:spChg>
        <pc:spChg chg="mod">
          <ac:chgData name="Ryan Littlemore" userId="e455dac8-f9aa-4cf6-ad37-fb5765c604eb" providerId="ADAL" clId="{EA211CAE-69AE-46BB-9A8D-1393CBDD3061}" dt="2019-06-13T18:58:54.722" v="522" actId="1036"/>
          <ac:spMkLst>
            <pc:docMk/>
            <pc:sldMk cId="2323985547" sldId="507"/>
            <ac:spMk id="25" creationId="{5D640917-CA7A-47F6-B91A-31470B8FDEB6}"/>
          </ac:spMkLst>
        </pc:spChg>
        <pc:spChg chg="add mod">
          <ac:chgData name="Ryan Littlemore" userId="e455dac8-f9aa-4cf6-ad37-fb5765c604eb" providerId="ADAL" clId="{EA211CAE-69AE-46BB-9A8D-1393CBDD3061}" dt="2019-06-13T19:00:39.811" v="636" actId="1037"/>
          <ac:spMkLst>
            <pc:docMk/>
            <pc:sldMk cId="2323985547" sldId="507"/>
            <ac:spMk id="27" creationId="{387BF5CA-3D16-41FF-B240-5C9553E95FE0}"/>
          </ac:spMkLst>
        </pc:spChg>
        <pc:grpChg chg="mod">
          <ac:chgData name="Ryan Littlemore" userId="e455dac8-f9aa-4cf6-ad37-fb5765c604eb" providerId="ADAL" clId="{EA211CAE-69AE-46BB-9A8D-1393CBDD3061}" dt="2019-06-13T18:57:26.136" v="450" actId="14100"/>
          <ac:grpSpMkLst>
            <pc:docMk/>
            <pc:sldMk cId="2323985547" sldId="507"/>
            <ac:grpSpMk id="2" creationId="{BB0D6F68-9AAA-4120-BED2-C91097AEBCB6}"/>
          </ac:grpSpMkLst>
        </pc:grpChg>
        <pc:grpChg chg="mod">
          <ac:chgData name="Ryan Littlemore" userId="e455dac8-f9aa-4cf6-ad37-fb5765c604eb" providerId="ADAL" clId="{EA211CAE-69AE-46BB-9A8D-1393CBDD3061}" dt="2019-06-13T18:47:34.185" v="62" actId="1076"/>
          <ac:grpSpMkLst>
            <pc:docMk/>
            <pc:sldMk cId="2323985547" sldId="507"/>
            <ac:grpSpMk id="9" creationId="{A5A513C8-36CB-0543-A7C0-24D6A8F5BDC4}"/>
          </ac:grpSpMkLst>
        </pc:grpChg>
        <pc:picChg chg="mod">
          <ac:chgData name="Ryan Littlemore" userId="e455dac8-f9aa-4cf6-ad37-fb5765c604eb" providerId="ADAL" clId="{EA211CAE-69AE-46BB-9A8D-1393CBDD3061}" dt="2019-06-13T18:59:14.842" v="559" actId="1037"/>
          <ac:picMkLst>
            <pc:docMk/>
            <pc:sldMk cId="2323985547" sldId="507"/>
            <ac:picMk id="14" creationId="{8D2B7678-82D9-433B-AEE2-4FC5AE812889}"/>
          </ac:picMkLst>
        </pc:picChg>
        <pc:picChg chg="mod">
          <ac:chgData name="Ryan Littlemore" userId="e455dac8-f9aa-4cf6-ad37-fb5765c604eb" providerId="ADAL" clId="{EA211CAE-69AE-46BB-9A8D-1393CBDD3061}" dt="2019-06-13T18:59:14.842" v="559" actId="1037"/>
          <ac:picMkLst>
            <pc:docMk/>
            <pc:sldMk cId="2323985547" sldId="507"/>
            <ac:picMk id="17" creationId="{CF1F1581-E3AB-4E92-ADA1-14B1382A43FB}"/>
          </ac:picMkLst>
        </pc:picChg>
        <pc:picChg chg="mod">
          <ac:chgData name="Ryan Littlemore" userId="e455dac8-f9aa-4cf6-ad37-fb5765c604eb" providerId="ADAL" clId="{EA211CAE-69AE-46BB-9A8D-1393CBDD3061}" dt="2019-06-13T18:59:14.842" v="559" actId="1037"/>
          <ac:picMkLst>
            <pc:docMk/>
            <pc:sldMk cId="2323985547" sldId="507"/>
            <ac:picMk id="19" creationId="{5CE2E72F-B8D5-43DD-A4BD-106B5373FEEA}"/>
          </ac:picMkLst>
        </pc:picChg>
        <pc:picChg chg="mod">
          <ac:chgData name="Ryan Littlemore" userId="e455dac8-f9aa-4cf6-ad37-fb5765c604eb" providerId="ADAL" clId="{EA211CAE-69AE-46BB-9A8D-1393CBDD3061}" dt="2019-06-13T18:58:54.722" v="522" actId="1036"/>
          <ac:picMkLst>
            <pc:docMk/>
            <pc:sldMk cId="2323985547" sldId="507"/>
            <ac:picMk id="22" creationId="{9ADE7332-A919-4A53-A585-7190EC6D4DDC}"/>
          </ac:picMkLst>
        </pc:picChg>
        <pc:picChg chg="mod">
          <ac:chgData name="Ryan Littlemore" userId="e455dac8-f9aa-4cf6-ad37-fb5765c604eb" providerId="ADAL" clId="{EA211CAE-69AE-46BB-9A8D-1393CBDD3061}" dt="2019-06-13T18:58:54.722" v="522" actId="1036"/>
          <ac:picMkLst>
            <pc:docMk/>
            <pc:sldMk cId="2323985547" sldId="507"/>
            <ac:picMk id="24" creationId="{D1DC9B58-3E5B-4C7D-BBF6-5BFF7F6FFAEC}"/>
          </ac:picMkLst>
        </pc:picChg>
        <pc:picChg chg="mod">
          <ac:chgData name="Ryan Littlemore" userId="e455dac8-f9aa-4cf6-ad37-fb5765c604eb" providerId="ADAL" clId="{EA211CAE-69AE-46BB-9A8D-1393CBDD3061}" dt="2019-06-13T18:58:54.722" v="522" actId="1036"/>
          <ac:picMkLst>
            <pc:docMk/>
            <pc:sldMk cId="2323985547" sldId="507"/>
            <ac:picMk id="26" creationId="{0B797044-578F-4D64-A8CA-BE0AF2F2F9BF}"/>
          </ac:picMkLst>
        </pc:picChg>
        <pc:picChg chg="add mod">
          <ac:chgData name="Ryan Littlemore" userId="e455dac8-f9aa-4cf6-ad37-fb5765c604eb" providerId="ADAL" clId="{EA211CAE-69AE-46BB-9A8D-1393CBDD3061}" dt="2019-06-13T19:00:39.811" v="636" actId="1037"/>
          <ac:picMkLst>
            <pc:docMk/>
            <pc:sldMk cId="2323985547" sldId="507"/>
            <ac:picMk id="28" creationId="{752C8C2E-46F1-4D65-977E-0A5909ADEA31}"/>
          </ac:picMkLst>
        </pc:picChg>
      </pc:sldChg>
      <pc:sldChg chg="modSp">
        <pc:chgData name="Ryan Littlemore" userId="e455dac8-f9aa-4cf6-ad37-fb5765c604eb" providerId="ADAL" clId="{EA211CAE-69AE-46BB-9A8D-1393CBDD3061}" dt="2019-06-13T18:44:33.990" v="3" actId="20577"/>
        <pc:sldMkLst>
          <pc:docMk/>
          <pc:sldMk cId="1620967048" sldId="539"/>
        </pc:sldMkLst>
        <pc:spChg chg="mod">
          <ac:chgData name="Ryan Littlemore" userId="e455dac8-f9aa-4cf6-ad37-fb5765c604eb" providerId="ADAL" clId="{EA211CAE-69AE-46BB-9A8D-1393CBDD3061}" dt="2019-06-13T18:44:33.990" v="3" actId="20577"/>
          <ac:spMkLst>
            <pc:docMk/>
            <pc:sldMk cId="1620967048" sldId="539"/>
            <ac:spMk id="7" creationId="{3041B32A-7E40-4D4B-ACE4-D8C665F8B323}"/>
          </ac:spMkLst>
        </pc:spChg>
      </pc:sldChg>
      <pc:sldChg chg="modSp ord">
        <pc:chgData name="Ryan Littlemore" userId="e455dac8-f9aa-4cf6-ad37-fb5765c604eb" providerId="ADAL" clId="{EA211CAE-69AE-46BB-9A8D-1393CBDD3061}" dt="2019-06-13T18:55:39.250" v="384"/>
        <pc:sldMkLst>
          <pc:docMk/>
          <pc:sldMk cId="3679143134" sldId="541"/>
        </pc:sldMkLst>
        <pc:spChg chg="mod">
          <ac:chgData name="Ryan Littlemore" userId="e455dac8-f9aa-4cf6-ad37-fb5765c604eb" providerId="ADAL" clId="{EA211CAE-69AE-46BB-9A8D-1393CBDD3061}" dt="2019-06-13T18:54:22.377" v="336" actId="20577"/>
          <ac:spMkLst>
            <pc:docMk/>
            <pc:sldMk cId="3679143134" sldId="541"/>
            <ac:spMk id="10" creationId="{1B800DE3-CF57-4603-8854-4529CC0A5DD9}"/>
          </ac:spMkLst>
        </pc:spChg>
      </pc:sldChg>
      <pc:sldChg chg="delSp modSp add ord">
        <pc:chgData name="Ryan Littlemore" userId="e455dac8-f9aa-4cf6-ad37-fb5765c604eb" providerId="ADAL" clId="{EA211CAE-69AE-46BB-9A8D-1393CBDD3061}" dt="2019-06-13T18:51:47.640" v="191" actId="1076"/>
        <pc:sldMkLst>
          <pc:docMk/>
          <pc:sldMk cId="3420653574" sldId="542"/>
        </pc:sldMkLst>
        <pc:spChg chg="mod">
          <ac:chgData name="Ryan Littlemore" userId="e455dac8-f9aa-4cf6-ad37-fb5765c604eb" providerId="ADAL" clId="{EA211CAE-69AE-46BB-9A8D-1393CBDD3061}" dt="2019-06-13T18:51:47.640" v="191" actId="1076"/>
          <ac:spMkLst>
            <pc:docMk/>
            <pc:sldMk cId="3420653574" sldId="542"/>
            <ac:spMk id="2" creationId="{39233361-26D1-4118-99CB-A5545E724B8F}"/>
          </ac:spMkLst>
        </pc:spChg>
        <pc:picChg chg="del">
          <ac:chgData name="Ryan Littlemore" userId="e455dac8-f9aa-4cf6-ad37-fb5765c604eb" providerId="ADAL" clId="{EA211CAE-69AE-46BB-9A8D-1393CBDD3061}" dt="2019-06-13T18:49:33.082" v="90" actId="478"/>
          <ac:picMkLst>
            <pc:docMk/>
            <pc:sldMk cId="3420653574" sldId="542"/>
            <ac:picMk id="5" creationId="{FE8F569A-3399-4E31-8792-1EEC9A11E257}"/>
          </ac:picMkLst>
        </pc:picChg>
      </pc:sldChg>
      <pc:sldChg chg="modSp add">
        <pc:chgData name="Ryan Littlemore" userId="e455dac8-f9aa-4cf6-ad37-fb5765c604eb" providerId="ADAL" clId="{EA211CAE-69AE-46BB-9A8D-1393CBDD3061}" dt="2019-06-13T18:55:14.390" v="383" actId="20577"/>
        <pc:sldMkLst>
          <pc:docMk/>
          <pc:sldMk cId="2714039227" sldId="543"/>
        </pc:sldMkLst>
        <pc:spChg chg="mod">
          <ac:chgData name="Ryan Littlemore" userId="e455dac8-f9aa-4cf6-ad37-fb5765c604eb" providerId="ADAL" clId="{EA211CAE-69AE-46BB-9A8D-1393CBDD3061}" dt="2019-06-13T18:55:14.390" v="383" actId="20577"/>
          <ac:spMkLst>
            <pc:docMk/>
            <pc:sldMk cId="2714039227" sldId="543"/>
            <ac:spMk id="2" creationId="{39233361-26D1-4118-99CB-A5545E724B8F}"/>
          </ac:spMkLst>
        </pc:spChg>
      </pc:sldChg>
      <pc:sldMasterChg chg="addSldLayout delSldLayout">
        <pc:chgData name="Ryan Littlemore" userId="e455dac8-f9aa-4cf6-ad37-fb5765c604eb" providerId="ADAL" clId="{EA211CAE-69AE-46BB-9A8D-1393CBDD3061}" dt="2019-06-13T18:47:34.804" v="64" actId="2696"/>
        <pc:sldMasterMkLst>
          <pc:docMk/>
          <pc:sldMasterMk cId="0" sldId="2147483648"/>
        </pc:sldMasterMkLst>
        <pc:sldLayoutChg chg="add del">
          <pc:chgData name="Ryan Littlemore" userId="e455dac8-f9aa-4cf6-ad37-fb5765c604eb" providerId="ADAL" clId="{EA211CAE-69AE-46BB-9A8D-1393CBDD3061}" dt="2019-06-13T18:47:34.804" v="64" actId="2696"/>
          <pc:sldLayoutMkLst>
            <pc:docMk/>
            <pc:sldMasterMk cId="0" sldId="2147483648"/>
            <pc:sldLayoutMk cId="264322666" sldId="2147483677"/>
          </pc:sldLayoutMkLst>
        </pc:sldLayoutChg>
      </pc:sldMasterChg>
    </pc:docChg>
  </pc:docChgLst>
  <pc:docChgLst>
    <pc:chgData name="Jack Tracey" userId="98dee47e-7932-4ede-ad91-867e883fbe46" providerId="ADAL" clId="{96144185-44AB-413E-B06D-E6EA4CAF26EB}"/>
    <pc:docChg chg="custSel delSld modSld delMainMaster delSection modSection">
      <pc:chgData name="Jack Tracey" userId="98dee47e-7932-4ede-ad91-867e883fbe46" providerId="ADAL" clId="{96144185-44AB-413E-B06D-E6EA4CAF26EB}" dt="2020-01-30T16:46:16.038" v="423" actId="14100"/>
      <pc:docMkLst>
        <pc:docMk/>
      </pc:docMkLst>
      <pc:sldChg chg="del">
        <pc:chgData name="Jack Tracey" userId="98dee47e-7932-4ede-ad91-867e883fbe46" providerId="ADAL" clId="{96144185-44AB-413E-B06D-E6EA4CAF26EB}" dt="2020-01-30T15:59:04.257" v="132" actId="47"/>
        <pc:sldMkLst>
          <pc:docMk/>
          <pc:sldMk cId="2432667940" sldId="256"/>
        </pc:sldMkLst>
      </pc:sldChg>
      <pc:sldChg chg="modSp">
        <pc:chgData name="Jack Tracey" userId="98dee47e-7932-4ede-ad91-867e883fbe46" providerId="ADAL" clId="{96144185-44AB-413E-B06D-E6EA4CAF26EB}" dt="2020-01-30T15:40:27.244" v="14" actId="27636"/>
        <pc:sldMkLst>
          <pc:docMk/>
          <pc:sldMk cId="1826063434" sldId="260"/>
        </pc:sldMkLst>
        <pc:spChg chg="mod">
          <ac:chgData name="Jack Tracey" userId="98dee47e-7932-4ede-ad91-867e883fbe46" providerId="ADAL" clId="{96144185-44AB-413E-B06D-E6EA4CAF26EB}" dt="2020-01-30T15:40:27.244" v="14" actId="27636"/>
          <ac:spMkLst>
            <pc:docMk/>
            <pc:sldMk cId="1826063434" sldId="260"/>
            <ac:spMk id="3" creationId="{FB77A8A2-BD64-4C21-977E-EAC2AC092B8D}"/>
          </ac:spMkLst>
        </pc:spChg>
      </pc:sldChg>
      <pc:sldChg chg="del">
        <pc:chgData name="Jack Tracey" userId="98dee47e-7932-4ede-ad91-867e883fbe46" providerId="ADAL" clId="{96144185-44AB-413E-B06D-E6EA4CAF26EB}" dt="2020-01-30T15:59:04.257" v="132" actId="47"/>
        <pc:sldMkLst>
          <pc:docMk/>
          <pc:sldMk cId="1916670557" sldId="268"/>
        </pc:sldMkLst>
      </pc:sldChg>
      <pc:sldChg chg="del">
        <pc:chgData name="Jack Tracey" userId="98dee47e-7932-4ede-ad91-867e883fbe46" providerId="ADAL" clId="{96144185-44AB-413E-B06D-E6EA4CAF26EB}" dt="2020-01-30T15:59:04.257" v="132" actId="47"/>
        <pc:sldMkLst>
          <pc:docMk/>
          <pc:sldMk cId="1710494087" sldId="329"/>
        </pc:sldMkLst>
      </pc:sldChg>
      <pc:sldChg chg="addSp delSp modSp">
        <pc:chgData name="Jack Tracey" userId="98dee47e-7932-4ede-ad91-867e883fbe46" providerId="ADAL" clId="{96144185-44AB-413E-B06D-E6EA4CAF26EB}" dt="2020-01-30T16:46:16.038" v="423" actId="14100"/>
        <pc:sldMkLst>
          <pc:docMk/>
          <pc:sldMk cId="2323985547" sldId="507"/>
        </pc:sldMkLst>
        <pc:spChg chg="mod">
          <ac:chgData name="Jack Tracey" userId="98dee47e-7932-4ede-ad91-867e883fbe46" providerId="ADAL" clId="{96144185-44AB-413E-B06D-E6EA4CAF26EB}" dt="2020-01-30T16:09:23.784" v="387" actId="20577"/>
          <ac:spMkLst>
            <pc:docMk/>
            <pc:sldMk cId="2323985547" sldId="507"/>
            <ac:spMk id="31" creationId="{89E4F5E5-661B-4968-86C4-527F2600534E}"/>
          </ac:spMkLst>
        </pc:spChg>
        <pc:picChg chg="del">
          <ac:chgData name="Jack Tracey" userId="98dee47e-7932-4ede-ad91-867e883fbe46" providerId="ADAL" clId="{96144185-44AB-413E-B06D-E6EA4CAF26EB}" dt="2020-01-30T16:46:09.997" v="418" actId="478"/>
          <ac:picMkLst>
            <pc:docMk/>
            <pc:sldMk cId="2323985547" sldId="507"/>
            <ac:picMk id="5" creationId="{1181E693-ECEA-4871-936E-59B9151077BF}"/>
          </ac:picMkLst>
        </pc:picChg>
        <pc:picChg chg="add mod">
          <ac:chgData name="Jack Tracey" userId="98dee47e-7932-4ede-ad91-867e883fbe46" providerId="ADAL" clId="{96144185-44AB-413E-B06D-E6EA4CAF26EB}" dt="2020-01-30T16:46:16.038" v="423" actId="14100"/>
          <ac:picMkLst>
            <pc:docMk/>
            <pc:sldMk cId="2323985547" sldId="507"/>
            <ac:picMk id="7" creationId="{542CD38F-8439-4F00-854D-57516F8638C5}"/>
          </ac:picMkLst>
        </pc:picChg>
      </pc:sldChg>
      <pc:sldChg chg="modSp">
        <pc:chgData name="Jack Tracey" userId="98dee47e-7932-4ede-ad91-867e883fbe46" providerId="ADAL" clId="{96144185-44AB-413E-B06D-E6EA4CAF26EB}" dt="2020-01-30T15:40:04.734" v="12" actId="20577"/>
        <pc:sldMkLst>
          <pc:docMk/>
          <pc:sldMk cId="1620967048" sldId="539"/>
        </pc:sldMkLst>
        <pc:spChg chg="mod">
          <ac:chgData name="Jack Tracey" userId="98dee47e-7932-4ede-ad91-867e883fbe46" providerId="ADAL" clId="{96144185-44AB-413E-B06D-E6EA4CAF26EB}" dt="2020-01-30T15:40:04.734" v="12" actId="20577"/>
          <ac:spMkLst>
            <pc:docMk/>
            <pc:sldMk cId="1620967048" sldId="539"/>
            <ac:spMk id="7" creationId="{3041B32A-7E40-4D4B-ACE4-D8C665F8B323}"/>
          </ac:spMkLst>
        </pc:spChg>
      </pc:sldChg>
      <pc:sldChg chg="modSp">
        <pc:chgData name="Jack Tracey" userId="98dee47e-7932-4ede-ad91-867e883fbe46" providerId="ADAL" clId="{96144185-44AB-413E-B06D-E6EA4CAF26EB}" dt="2020-01-30T15:40:27.313" v="15" actId="20577"/>
        <pc:sldMkLst>
          <pc:docMk/>
          <pc:sldMk cId="3679143134" sldId="541"/>
        </pc:sldMkLst>
        <pc:spChg chg="mod">
          <ac:chgData name="Jack Tracey" userId="98dee47e-7932-4ede-ad91-867e883fbe46" providerId="ADAL" clId="{96144185-44AB-413E-B06D-E6EA4CAF26EB}" dt="2020-01-30T15:40:27.313" v="15" actId="20577"/>
          <ac:spMkLst>
            <pc:docMk/>
            <pc:sldMk cId="3679143134" sldId="541"/>
            <ac:spMk id="10" creationId="{1B800DE3-CF57-4603-8854-4529CC0A5DD9}"/>
          </ac:spMkLst>
        </pc:spChg>
      </pc:sldChg>
      <pc:sldChg chg="delSp modSp modAnim">
        <pc:chgData name="Jack Tracey" userId="98dee47e-7932-4ede-ad91-867e883fbe46" providerId="ADAL" clId="{96144185-44AB-413E-B06D-E6EA4CAF26EB}" dt="2020-01-30T16:07:08.751" v="261"/>
        <pc:sldMkLst>
          <pc:docMk/>
          <pc:sldMk cId="2714039227" sldId="543"/>
        </pc:sldMkLst>
        <pc:spChg chg="mod">
          <ac:chgData name="Jack Tracey" userId="98dee47e-7932-4ede-ad91-867e883fbe46" providerId="ADAL" clId="{96144185-44AB-413E-B06D-E6EA4CAF26EB}" dt="2020-01-30T16:04:49.144" v="247" actId="1076"/>
          <ac:spMkLst>
            <pc:docMk/>
            <pc:sldMk cId="2714039227" sldId="543"/>
            <ac:spMk id="2" creationId="{39233361-26D1-4118-99CB-A5545E724B8F}"/>
          </ac:spMkLst>
        </pc:spChg>
        <pc:spChg chg="mod">
          <ac:chgData name="Jack Tracey" userId="98dee47e-7932-4ede-ad91-867e883fbe46" providerId="ADAL" clId="{96144185-44AB-413E-B06D-E6EA4CAF26EB}" dt="2020-01-30T16:06:40.145" v="254"/>
          <ac:spMkLst>
            <pc:docMk/>
            <pc:sldMk cId="2714039227" sldId="543"/>
            <ac:spMk id="8" creationId="{6F317DFF-5DF8-4E7F-9E94-AA61B9E9B4E6}"/>
          </ac:spMkLst>
        </pc:spChg>
        <pc:grpChg chg="del">
          <ac:chgData name="Jack Tracey" userId="98dee47e-7932-4ede-ad91-867e883fbe46" providerId="ADAL" clId="{96144185-44AB-413E-B06D-E6EA4CAF26EB}" dt="2020-01-30T16:04:28.243" v="238" actId="478"/>
          <ac:grpSpMkLst>
            <pc:docMk/>
            <pc:sldMk cId="2714039227" sldId="543"/>
            <ac:grpSpMk id="3" creationId="{EEA76C39-B14A-40A1-BD69-48E224FC5E2F}"/>
          </ac:grpSpMkLst>
        </pc:grpChg>
        <pc:grpChg chg="mod">
          <ac:chgData name="Jack Tracey" userId="98dee47e-7932-4ede-ad91-867e883fbe46" providerId="ADAL" clId="{96144185-44AB-413E-B06D-E6EA4CAF26EB}" dt="2020-01-30T16:06:50.025" v="255" actId="1076"/>
          <ac:grpSpMkLst>
            <pc:docMk/>
            <pc:sldMk cId="2714039227" sldId="543"/>
            <ac:grpSpMk id="7" creationId="{CE25B7A9-B330-4760-BDF4-91E54A750274}"/>
          </ac:grpSpMkLst>
        </pc:grpChg>
      </pc:sldChg>
      <pc:sldChg chg="addSp modSp modAnim">
        <pc:chgData name="Jack Tracey" userId="98dee47e-7932-4ede-ad91-867e883fbe46" providerId="ADAL" clId="{96144185-44AB-413E-B06D-E6EA4CAF26EB}" dt="2020-01-30T15:59:42.650" v="138" actId="1076"/>
        <pc:sldMkLst>
          <pc:docMk/>
          <pc:sldMk cId="1115611432" sldId="545"/>
        </pc:sldMkLst>
        <pc:spChg chg="mod">
          <ac:chgData name="Jack Tracey" userId="98dee47e-7932-4ede-ad91-867e883fbe46" providerId="ADAL" clId="{96144185-44AB-413E-B06D-E6EA4CAF26EB}" dt="2020-01-30T15:59:38.706" v="137" actId="20577"/>
          <ac:spMkLst>
            <pc:docMk/>
            <pc:sldMk cId="1115611432" sldId="545"/>
            <ac:spMk id="9" creationId="{2448901E-48B7-4417-BBB0-4E51F689A76D}"/>
          </ac:spMkLst>
        </pc:spChg>
        <pc:spChg chg="mod">
          <ac:chgData name="Jack Tracey" userId="98dee47e-7932-4ede-ad91-867e883fbe46" providerId="ADAL" clId="{96144185-44AB-413E-B06D-E6EA4CAF26EB}" dt="2020-01-30T15:57:02.286" v="117" actId="1076"/>
          <ac:spMkLst>
            <pc:docMk/>
            <pc:sldMk cId="1115611432" sldId="545"/>
            <ac:spMk id="10" creationId="{1B800DE3-CF57-4603-8854-4529CC0A5DD9}"/>
          </ac:spMkLst>
        </pc:spChg>
        <pc:picChg chg="add mod">
          <ac:chgData name="Jack Tracey" userId="98dee47e-7932-4ede-ad91-867e883fbe46" providerId="ADAL" clId="{96144185-44AB-413E-B06D-E6EA4CAF26EB}" dt="2020-01-30T15:59:42.650" v="138" actId="1076"/>
          <ac:picMkLst>
            <pc:docMk/>
            <pc:sldMk cId="1115611432" sldId="545"/>
            <ac:picMk id="6" creationId="{18A7789A-653E-43AF-A412-2A3EE61A8859}"/>
          </ac:picMkLst>
        </pc:picChg>
      </pc:sldChg>
      <pc:sldChg chg="delSp del">
        <pc:chgData name="Jack Tracey" userId="98dee47e-7932-4ede-ad91-867e883fbe46" providerId="ADAL" clId="{96144185-44AB-413E-B06D-E6EA4CAF26EB}" dt="2020-01-30T16:09:10.593" v="380" actId="47"/>
        <pc:sldMkLst>
          <pc:docMk/>
          <pc:sldMk cId="2965548729" sldId="546"/>
        </pc:sldMkLst>
        <pc:spChg chg="del">
          <ac:chgData name="Jack Tracey" userId="98dee47e-7932-4ede-ad91-867e883fbe46" providerId="ADAL" clId="{96144185-44AB-413E-B06D-E6EA4CAF26EB}" dt="2020-01-30T16:09:06.766" v="379" actId="478"/>
          <ac:spMkLst>
            <pc:docMk/>
            <pc:sldMk cId="2965548729" sldId="546"/>
            <ac:spMk id="8" creationId="{022A2DF9-416C-4715-A4CE-B77A82E740E9}"/>
          </ac:spMkLst>
        </pc:spChg>
      </pc:sldChg>
      <pc:sldChg chg="del">
        <pc:chgData name="Jack Tracey" userId="98dee47e-7932-4ede-ad91-867e883fbe46" providerId="ADAL" clId="{96144185-44AB-413E-B06D-E6EA4CAF26EB}" dt="2020-01-30T16:07:12.494" v="262" actId="47"/>
        <pc:sldMkLst>
          <pc:docMk/>
          <pc:sldMk cId="842793738" sldId="547"/>
        </pc:sldMkLst>
      </pc:sldChg>
      <pc:sldChg chg="del">
        <pc:chgData name="Jack Tracey" userId="98dee47e-7932-4ede-ad91-867e883fbe46" providerId="ADAL" clId="{96144185-44AB-413E-B06D-E6EA4CAF26EB}" dt="2020-01-30T15:59:04.257" v="132" actId="47"/>
        <pc:sldMkLst>
          <pc:docMk/>
          <pc:sldMk cId="2879364290" sldId="548"/>
        </pc:sldMkLst>
      </pc:sldChg>
      <pc:sldChg chg="del">
        <pc:chgData name="Jack Tracey" userId="98dee47e-7932-4ede-ad91-867e883fbe46" providerId="ADAL" clId="{96144185-44AB-413E-B06D-E6EA4CAF26EB}" dt="2020-01-30T15:59:04.257" v="132" actId="47"/>
        <pc:sldMkLst>
          <pc:docMk/>
          <pc:sldMk cId="657973168" sldId="549"/>
        </pc:sldMkLst>
      </pc:sldChg>
      <pc:sldChg chg="del">
        <pc:chgData name="Jack Tracey" userId="98dee47e-7932-4ede-ad91-867e883fbe46" providerId="ADAL" clId="{96144185-44AB-413E-B06D-E6EA4CAF26EB}" dt="2020-01-30T15:59:04.257" v="132" actId="47"/>
        <pc:sldMkLst>
          <pc:docMk/>
          <pc:sldMk cId="2841867360" sldId="550"/>
        </pc:sldMkLst>
      </pc:sldChg>
      <pc:sldChg chg="del">
        <pc:chgData name="Jack Tracey" userId="98dee47e-7932-4ede-ad91-867e883fbe46" providerId="ADAL" clId="{96144185-44AB-413E-B06D-E6EA4CAF26EB}" dt="2020-01-30T15:59:04.257" v="132" actId="47"/>
        <pc:sldMkLst>
          <pc:docMk/>
          <pc:sldMk cId="1037987412" sldId="551"/>
        </pc:sldMkLst>
      </pc:sldChg>
      <pc:sldChg chg="del">
        <pc:chgData name="Jack Tracey" userId="98dee47e-7932-4ede-ad91-867e883fbe46" providerId="ADAL" clId="{96144185-44AB-413E-B06D-E6EA4CAF26EB}" dt="2020-01-30T15:59:04.257" v="132" actId="47"/>
        <pc:sldMkLst>
          <pc:docMk/>
          <pc:sldMk cId="319321730" sldId="552"/>
        </pc:sldMkLst>
      </pc:sldChg>
      <pc:sldChg chg="del">
        <pc:chgData name="Jack Tracey" userId="98dee47e-7932-4ede-ad91-867e883fbe46" providerId="ADAL" clId="{96144185-44AB-413E-B06D-E6EA4CAF26EB}" dt="2020-01-30T15:59:04.257" v="132" actId="47"/>
        <pc:sldMkLst>
          <pc:docMk/>
          <pc:sldMk cId="2785250797" sldId="553"/>
        </pc:sldMkLst>
      </pc:sldChg>
      <pc:sldChg chg="addSp delSp modSp">
        <pc:chgData name="Jack Tracey" userId="98dee47e-7932-4ede-ad91-867e883fbe46" providerId="ADAL" clId="{96144185-44AB-413E-B06D-E6EA4CAF26EB}" dt="2020-01-30T16:08:57.870" v="378" actId="6549"/>
        <pc:sldMkLst>
          <pc:docMk/>
          <pc:sldMk cId="4145438909" sldId="554"/>
        </pc:sldMkLst>
        <pc:spChg chg="mod">
          <ac:chgData name="Jack Tracey" userId="98dee47e-7932-4ede-ad91-867e883fbe46" providerId="ADAL" clId="{96144185-44AB-413E-B06D-E6EA4CAF26EB}" dt="2020-01-30T16:07:21.516" v="282" actId="20577"/>
          <ac:spMkLst>
            <pc:docMk/>
            <pc:sldMk cId="4145438909" sldId="554"/>
            <ac:spMk id="9" creationId="{2448901E-48B7-4417-BBB0-4E51F689A76D}"/>
          </ac:spMkLst>
        </pc:spChg>
        <pc:spChg chg="mod">
          <ac:chgData name="Jack Tracey" userId="98dee47e-7932-4ede-ad91-867e883fbe46" providerId="ADAL" clId="{96144185-44AB-413E-B06D-E6EA4CAF26EB}" dt="2020-01-30T16:08:57.870" v="378" actId="6549"/>
          <ac:spMkLst>
            <pc:docMk/>
            <pc:sldMk cId="4145438909" sldId="554"/>
            <ac:spMk id="10" creationId="{1B800DE3-CF57-4603-8854-4529CC0A5DD9}"/>
          </ac:spMkLst>
        </pc:spChg>
        <pc:picChg chg="del">
          <ac:chgData name="Jack Tracey" userId="98dee47e-7932-4ede-ad91-867e883fbe46" providerId="ADAL" clId="{96144185-44AB-413E-B06D-E6EA4CAF26EB}" dt="2020-01-30T16:07:40.789" v="299" actId="478"/>
          <ac:picMkLst>
            <pc:docMk/>
            <pc:sldMk cId="4145438909" sldId="554"/>
            <ac:picMk id="3" creationId="{2806363A-DEF7-4B02-945D-3F2F6EECB02E}"/>
          </ac:picMkLst>
        </pc:picChg>
        <pc:picChg chg="add mod">
          <ac:chgData name="Jack Tracey" userId="98dee47e-7932-4ede-ad91-867e883fbe46" providerId="ADAL" clId="{96144185-44AB-413E-B06D-E6EA4CAF26EB}" dt="2020-01-30T16:07:54.270" v="304" actId="1076"/>
          <ac:picMkLst>
            <pc:docMk/>
            <pc:sldMk cId="4145438909" sldId="554"/>
            <ac:picMk id="2050" creationId="{2AA7FD6F-7FD0-4C1A-ADB1-CAC88EAB03A2}"/>
          </ac:picMkLst>
        </pc:picChg>
      </pc:sldChg>
      <pc:sldChg chg="del">
        <pc:chgData name="Jack Tracey" userId="98dee47e-7932-4ede-ad91-867e883fbe46" providerId="ADAL" clId="{96144185-44AB-413E-B06D-E6EA4CAF26EB}" dt="2020-01-30T15:59:04.257" v="132" actId="47"/>
        <pc:sldMkLst>
          <pc:docMk/>
          <pc:sldMk cId="1037788803" sldId="555"/>
        </pc:sldMkLst>
      </pc:sldChg>
      <pc:sldChg chg="addSp delSp modSp">
        <pc:chgData name="Jack Tracey" userId="98dee47e-7932-4ede-ad91-867e883fbe46" providerId="ADAL" clId="{96144185-44AB-413E-B06D-E6EA4CAF26EB}" dt="2020-01-30T16:17:32.565" v="417" actId="2711"/>
        <pc:sldMkLst>
          <pc:docMk/>
          <pc:sldMk cId="670043725" sldId="556"/>
        </pc:sldMkLst>
        <pc:graphicFrameChg chg="mod modGraphic">
          <ac:chgData name="Jack Tracey" userId="98dee47e-7932-4ede-ad91-867e883fbe46" providerId="ADAL" clId="{96144185-44AB-413E-B06D-E6EA4CAF26EB}" dt="2020-01-30T16:17:32.565" v="417" actId="2711"/>
          <ac:graphicFrameMkLst>
            <pc:docMk/>
            <pc:sldMk cId="670043725" sldId="556"/>
            <ac:graphicFrameMk id="2" creationId="{A8326A8E-B529-4FF3-BBC6-FDC472DE49B8}"/>
          </ac:graphicFrameMkLst>
        </pc:graphicFrameChg>
        <pc:graphicFrameChg chg="add del mod">
          <ac:chgData name="Jack Tracey" userId="98dee47e-7932-4ede-ad91-867e883fbe46" providerId="ADAL" clId="{96144185-44AB-413E-B06D-E6EA4CAF26EB}" dt="2020-01-30T16:14:37.360" v="404"/>
          <ac:graphicFrameMkLst>
            <pc:docMk/>
            <pc:sldMk cId="670043725" sldId="556"/>
            <ac:graphicFrameMk id="3" creationId="{06624404-38DD-4077-B2BB-5DCED7C064F2}"/>
          </ac:graphicFrameMkLst>
        </pc:graphicFrameChg>
        <pc:graphicFrameChg chg="add del mod">
          <ac:chgData name="Jack Tracey" userId="98dee47e-7932-4ede-ad91-867e883fbe46" providerId="ADAL" clId="{96144185-44AB-413E-B06D-E6EA4CAF26EB}" dt="2020-01-30T16:15:18.382" v="408"/>
          <ac:graphicFrameMkLst>
            <pc:docMk/>
            <pc:sldMk cId="670043725" sldId="556"/>
            <ac:graphicFrameMk id="4" creationId="{4991A885-A320-4078-9CF8-FD95C4075FC6}"/>
          </ac:graphicFrameMkLst>
        </pc:graphicFrameChg>
      </pc:sldChg>
      <pc:sldChg chg="del">
        <pc:chgData name="Jack Tracey" userId="98dee47e-7932-4ede-ad91-867e883fbe46" providerId="ADAL" clId="{96144185-44AB-413E-B06D-E6EA4CAF26EB}" dt="2020-01-30T15:59:04.257" v="132" actId="47"/>
        <pc:sldMkLst>
          <pc:docMk/>
          <pc:sldMk cId="685333262" sldId="556"/>
        </pc:sldMkLst>
      </pc:sldChg>
      <pc:sldChg chg="del">
        <pc:chgData name="Jack Tracey" userId="98dee47e-7932-4ede-ad91-867e883fbe46" providerId="ADAL" clId="{96144185-44AB-413E-B06D-E6EA4CAF26EB}" dt="2020-01-30T15:59:04.257" v="132" actId="47"/>
        <pc:sldMkLst>
          <pc:docMk/>
          <pc:sldMk cId="1612880849" sldId="557"/>
        </pc:sldMkLst>
      </pc:sldChg>
      <pc:sldChg chg="del">
        <pc:chgData name="Jack Tracey" userId="98dee47e-7932-4ede-ad91-867e883fbe46" providerId="ADAL" clId="{96144185-44AB-413E-B06D-E6EA4CAF26EB}" dt="2020-01-30T15:59:04.257" v="132" actId="47"/>
        <pc:sldMkLst>
          <pc:docMk/>
          <pc:sldMk cId="1618373852" sldId="558"/>
        </pc:sldMkLst>
      </pc:sldChg>
      <pc:sldChg chg="del">
        <pc:chgData name="Jack Tracey" userId="98dee47e-7932-4ede-ad91-867e883fbe46" providerId="ADAL" clId="{96144185-44AB-413E-B06D-E6EA4CAF26EB}" dt="2020-01-30T15:59:04.257" v="132" actId="47"/>
        <pc:sldMkLst>
          <pc:docMk/>
          <pc:sldMk cId="897384562" sldId="559"/>
        </pc:sldMkLst>
      </pc:sldChg>
      <pc:sldChg chg="del">
        <pc:chgData name="Jack Tracey" userId="98dee47e-7932-4ede-ad91-867e883fbe46" providerId="ADAL" clId="{96144185-44AB-413E-B06D-E6EA4CAF26EB}" dt="2020-01-30T15:59:04.257" v="132" actId="47"/>
        <pc:sldMkLst>
          <pc:docMk/>
          <pc:sldMk cId="2172853092" sldId="560"/>
        </pc:sldMkLst>
      </pc:sldChg>
      <pc:sldChg chg="del">
        <pc:chgData name="Jack Tracey" userId="98dee47e-7932-4ede-ad91-867e883fbe46" providerId="ADAL" clId="{96144185-44AB-413E-B06D-E6EA4CAF26EB}" dt="2020-01-30T15:59:04.257" v="132" actId="47"/>
        <pc:sldMkLst>
          <pc:docMk/>
          <pc:sldMk cId="847187867" sldId="561"/>
        </pc:sldMkLst>
      </pc:sldChg>
      <pc:sldChg chg="del">
        <pc:chgData name="Jack Tracey" userId="98dee47e-7932-4ede-ad91-867e883fbe46" providerId="ADAL" clId="{96144185-44AB-413E-B06D-E6EA4CAF26EB}" dt="2020-01-30T15:59:04.257" v="132" actId="47"/>
        <pc:sldMkLst>
          <pc:docMk/>
          <pc:sldMk cId="3542078431" sldId="562"/>
        </pc:sldMkLst>
      </pc:sldChg>
      <pc:sldChg chg="del">
        <pc:chgData name="Jack Tracey" userId="98dee47e-7932-4ede-ad91-867e883fbe46" providerId="ADAL" clId="{96144185-44AB-413E-B06D-E6EA4CAF26EB}" dt="2020-01-30T15:59:04.257" v="132" actId="47"/>
        <pc:sldMkLst>
          <pc:docMk/>
          <pc:sldMk cId="1270121980" sldId="563"/>
        </pc:sldMkLst>
      </pc:sldChg>
      <pc:sldChg chg="del">
        <pc:chgData name="Jack Tracey" userId="98dee47e-7932-4ede-ad91-867e883fbe46" providerId="ADAL" clId="{96144185-44AB-413E-B06D-E6EA4CAF26EB}" dt="2020-01-30T15:59:04.257" v="132" actId="47"/>
        <pc:sldMkLst>
          <pc:docMk/>
          <pc:sldMk cId="2077351714" sldId="564"/>
        </pc:sldMkLst>
      </pc:sldChg>
      <pc:sldChg chg="del">
        <pc:chgData name="Jack Tracey" userId="98dee47e-7932-4ede-ad91-867e883fbe46" providerId="ADAL" clId="{96144185-44AB-413E-B06D-E6EA4CAF26EB}" dt="2020-01-30T15:59:04.257" v="132" actId="47"/>
        <pc:sldMkLst>
          <pc:docMk/>
          <pc:sldMk cId="235180100" sldId="2047"/>
        </pc:sldMkLst>
      </pc:sldChg>
      <pc:sldChg chg="del">
        <pc:chgData name="Jack Tracey" userId="98dee47e-7932-4ede-ad91-867e883fbe46" providerId="ADAL" clId="{96144185-44AB-413E-B06D-E6EA4CAF26EB}" dt="2020-01-30T15:59:04.257" v="132" actId="47"/>
        <pc:sldMkLst>
          <pc:docMk/>
          <pc:sldMk cId="3502118698" sldId="2049"/>
        </pc:sldMkLst>
      </pc:sldChg>
      <pc:sldChg chg="del">
        <pc:chgData name="Jack Tracey" userId="98dee47e-7932-4ede-ad91-867e883fbe46" providerId="ADAL" clId="{96144185-44AB-413E-B06D-E6EA4CAF26EB}" dt="2020-01-30T15:59:04.257" v="132" actId="47"/>
        <pc:sldMkLst>
          <pc:docMk/>
          <pc:sldMk cId="2552901473" sldId="2062"/>
        </pc:sldMkLst>
      </pc:sldChg>
      <pc:sldChg chg="del">
        <pc:chgData name="Jack Tracey" userId="98dee47e-7932-4ede-ad91-867e883fbe46" providerId="ADAL" clId="{96144185-44AB-413E-B06D-E6EA4CAF26EB}" dt="2020-01-30T15:59:04.257" v="132" actId="47"/>
        <pc:sldMkLst>
          <pc:docMk/>
          <pc:sldMk cId="2416037277" sldId="2071"/>
        </pc:sldMkLst>
      </pc:sldChg>
      <pc:sldChg chg="del">
        <pc:chgData name="Jack Tracey" userId="98dee47e-7932-4ede-ad91-867e883fbe46" providerId="ADAL" clId="{96144185-44AB-413E-B06D-E6EA4CAF26EB}" dt="2020-01-30T15:59:04.257" v="132" actId="47"/>
        <pc:sldMkLst>
          <pc:docMk/>
          <pc:sldMk cId="3119989687" sldId="2303"/>
        </pc:sldMkLst>
      </pc:sldChg>
      <pc:sldChg chg="del">
        <pc:chgData name="Jack Tracey" userId="98dee47e-7932-4ede-ad91-867e883fbe46" providerId="ADAL" clId="{96144185-44AB-413E-B06D-E6EA4CAF26EB}" dt="2020-01-30T15:59:04.257" v="132" actId="47"/>
        <pc:sldMkLst>
          <pc:docMk/>
          <pc:sldMk cId="451266579" sldId="4383"/>
        </pc:sldMkLst>
      </pc:sldChg>
      <pc:sldChg chg="del">
        <pc:chgData name="Jack Tracey" userId="98dee47e-7932-4ede-ad91-867e883fbe46" providerId="ADAL" clId="{96144185-44AB-413E-B06D-E6EA4CAF26EB}" dt="2020-01-30T15:59:04.257" v="132" actId="47"/>
        <pc:sldMkLst>
          <pc:docMk/>
          <pc:sldMk cId="2698731548" sldId="8962"/>
        </pc:sldMkLst>
      </pc:sldChg>
      <pc:sldChg chg="del">
        <pc:chgData name="Jack Tracey" userId="98dee47e-7932-4ede-ad91-867e883fbe46" providerId="ADAL" clId="{96144185-44AB-413E-B06D-E6EA4CAF26EB}" dt="2020-01-30T15:59:04.257" v="132" actId="47"/>
        <pc:sldMkLst>
          <pc:docMk/>
          <pc:sldMk cId="2039096552" sldId="10144"/>
        </pc:sldMkLst>
      </pc:sldChg>
      <pc:sldChg chg="del">
        <pc:chgData name="Jack Tracey" userId="98dee47e-7932-4ede-ad91-867e883fbe46" providerId="ADAL" clId="{96144185-44AB-413E-B06D-E6EA4CAF26EB}" dt="2020-01-30T15:59:04.257" v="132" actId="47"/>
        <pc:sldMkLst>
          <pc:docMk/>
          <pc:sldMk cId="1292659498" sldId="10246"/>
        </pc:sldMkLst>
      </pc:sldChg>
      <pc:sldChg chg="del">
        <pc:chgData name="Jack Tracey" userId="98dee47e-7932-4ede-ad91-867e883fbe46" providerId="ADAL" clId="{96144185-44AB-413E-B06D-E6EA4CAF26EB}" dt="2020-01-30T15:59:04.257" v="132" actId="47"/>
        <pc:sldMkLst>
          <pc:docMk/>
          <pc:sldMk cId="3607412153" sldId="10251"/>
        </pc:sldMkLst>
      </pc:sldChg>
      <pc:sldChg chg="del">
        <pc:chgData name="Jack Tracey" userId="98dee47e-7932-4ede-ad91-867e883fbe46" providerId="ADAL" clId="{96144185-44AB-413E-B06D-E6EA4CAF26EB}" dt="2020-01-30T15:59:04.257" v="132" actId="47"/>
        <pc:sldMkLst>
          <pc:docMk/>
          <pc:sldMk cId="3706478896" sldId="10270"/>
        </pc:sldMkLst>
      </pc:sldChg>
      <pc:sldChg chg="del">
        <pc:chgData name="Jack Tracey" userId="98dee47e-7932-4ede-ad91-867e883fbe46" providerId="ADAL" clId="{96144185-44AB-413E-B06D-E6EA4CAF26EB}" dt="2020-01-30T15:59:04.257" v="132" actId="47"/>
        <pc:sldMkLst>
          <pc:docMk/>
          <pc:sldMk cId="3738497244" sldId="10271"/>
        </pc:sldMkLst>
      </pc:sldChg>
      <pc:sldChg chg="del">
        <pc:chgData name="Jack Tracey" userId="98dee47e-7932-4ede-ad91-867e883fbe46" providerId="ADAL" clId="{96144185-44AB-413E-B06D-E6EA4CAF26EB}" dt="2020-01-30T15:59:04.257" v="132" actId="47"/>
        <pc:sldMkLst>
          <pc:docMk/>
          <pc:sldMk cId="2525171911" sldId="10667"/>
        </pc:sldMkLst>
      </pc:sldChg>
      <pc:sldChg chg="del">
        <pc:chgData name="Jack Tracey" userId="98dee47e-7932-4ede-ad91-867e883fbe46" providerId="ADAL" clId="{96144185-44AB-413E-B06D-E6EA4CAF26EB}" dt="2020-01-30T15:59:04.257" v="132" actId="47"/>
        <pc:sldMkLst>
          <pc:docMk/>
          <pc:sldMk cId="2137257538" sldId="10691"/>
        </pc:sldMkLst>
      </pc:sldChg>
      <pc:sldChg chg="del">
        <pc:chgData name="Jack Tracey" userId="98dee47e-7932-4ede-ad91-867e883fbe46" providerId="ADAL" clId="{96144185-44AB-413E-B06D-E6EA4CAF26EB}" dt="2020-01-30T15:59:04.257" v="132" actId="47"/>
        <pc:sldMkLst>
          <pc:docMk/>
          <pc:sldMk cId="3352829102" sldId="10692"/>
        </pc:sldMkLst>
      </pc:sldChg>
      <pc:sldChg chg="del">
        <pc:chgData name="Jack Tracey" userId="98dee47e-7932-4ede-ad91-867e883fbe46" providerId="ADAL" clId="{96144185-44AB-413E-B06D-E6EA4CAF26EB}" dt="2020-01-30T15:59:04.257" v="132" actId="47"/>
        <pc:sldMkLst>
          <pc:docMk/>
          <pc:sldMk cId="153091748" sldId="10693"/>
        </pc:sldMkLst>
      </pc:sldChg>
      <pc:sldChg chg="del">
        <pc:chgData name="Jack Tracey" userId="98dee47e-7932-4ede-ad91-867e883fbe46" providerId="ADAL" clId="{96144185-44AB-413E-B06D-E6EA4CAF26EB}" dt="2020-01-30T15:59:04.257" v="132" actId="47"/>
        <pc:sldMkLst>
          <pc:docMk/>
          <pc:sldMk cId="1683803825" sldId="10694"/>
        </pc:sldMkLst>
      </pc:sldChg>
      <pc:sldChg chg="del">
        <pc:chgData name="Jack Tracey" userId="98dee47e-7932-4ede-ad91-867e883fbe46" providerId="ADAL" clId="{96144185-44AB-413E-B06D-E6EA4CAF26EB}" dt="2020-01-30T15:59:04.257" v="132" actId="47"/>
        <pc:sldMkLst>
          <pc:docMk/>
          <pc:sldMk cId="2632802121" sldId="10695"/>
        </pc:sldMkLst>
      </pc:sldChg>
      <pc:sldChg chg="del">
        <pc:chgData name="Jack Tracey" userId="98dee47e-7932-4ede-ad91-867e883fbe46" providerId="ADAL" clId="{96144185-44AB-413E-B06D-E6EA4CAF26EB}" dt="2020-01-30T15:59:04.257" v="132" actId="47"/>
        <pc:sldMkLst>
          <pc:docMk/>
          <pc:sldMk cId="2554271359" sldId="11023"/>
        </pc:sldMkLst>
      </pc:sldChg>
      <pc:sldChg chg="del">
        <pc:chgData name="Jack Tracey" userId="98dee47e-7932-4ede-ad91-867e883fbe46" providerId="ADAL" clId="{96144185-44AB-413E-B06D-E6EA4CAF26EB}" dt="2020-01-30T15:59:04.257" v="132" actId="47"/>
        <pc:sldMkLst>
          <pc:docMk/>
          <pc:sldMk cId="1097793567" sldId="2076136258"/>
        </pc:sldMkLst>
      </pc:sldChg>
      <pc:sldChg chg="del">
        <pc:chgData name="Jack Tracey" userId="98dee47e-7932-4ede-ad91-867e883fbe46" providerId="ADAL" clId="{96144185-44AB-413E-B06D-E6EA4CAF26EB}" dt="2020-01-30T15:59:04.257" v="132" actId="47"/>
        <pc:sldMkLst>
          <pc:docMk/>
          <pc:sldMk cId="135957701" sldId="2076136471"/>
        </pc:sldMkLst>
      </pc:sldChg>
      <pc:sldChg chg="del">
        <pc:chgData name="Jack Tracey" userId="98dee47e-7932-4ede-ad91-867e883fbe46" providerId="ADAL" clId="{96144185-44AB-413E-B06D-E6EA4CAF26EB}" dt="2020-01-30T15:59:04.257" v="132" actId="47"/>
        <pc:sldMkLst>
          <pc:docMk/>
          <pc:sldMk cId="1722371393" sldId="2076136478"/>
        </pc:sldMkLst>
      </pc:sldChg>
      <pc:sldChg chg="del">
        <pc:chgData name="Jack Tracey" userId="98dee47e-7932-4ede-ad91-867e883fbe46" providerId="ADAL" clId="{96144185-44AB-413E-B06D-E6EA4CAF26EB}" dt="2020-01-30T15:59:04.257" v="132" actId="47"/>
        <pc:sldMkLst>
          <pc:docMk/>
          <pc:sldMk cId="1450452687" sldId="2076136498"/>
        </pc:sldMkLst>
      </pc:sldChg>
      <pc:sldChg chg="del">
        <pc:chgData name="Jack Tracey" userId="98dee47e-7932-4ede-ad91-867e883fbe46" providerId="ADAL" clId="{96144185-44AB-413E-B06D-E6EA4CAF26EB}" dt="2020-01-30T15:59:04.257" v="132" actId="47"/>
        <pc:sldMkLst>
          <pc:docMk/>
          <pc:sldMk cId="3977128237" sldId="2076136506"/>
        </pc:sldMkLst>
      </pc:sldChg>
      <pc:sldChg chg="del">
        <pc:chgData name="Jack Tracey" userId="98dee47e-7932-4ede-ad91-867e883fbe46" providerId="ADAL" clId="{96144185-44AB-413E-B06D-E6EA4CAF26EB}" dt="2020-01-30T15:59:04.257" v="132" actId="47"/>
        <pc:sldMkLst>
          <pc:docMk/>
          <pc:sldMk cId="2185758255" sldId="2076136508"/>
        </pc:sldMkLst>
      </pc:sldChg>
      <pc:sldChg chg="del">
        <pc:chgData name="Jack Tracey" userId="98dee47e-7932-4ede-ad91-867e883fbe46" providerId="ADAL" clId="{96144185-44AB-413E-B06D-E6EA4CAF26EB}" dt="2020-01-30T15:59:04.257" v="132" actId="47"/>
        <pc:sldMkLst>
          <pc:docMk/>
          <pc:sldMk cId="2819334198" sldId="2076136517"/>
        </pc:sldMkLst>
      </pc:sldChg>
      <pc:sldChg chg="del">
        <pc:chgData name="Jack Tracey" userId="98dee47e-7932-4ede-ad91-867e883fbe46" providerId="ADAL" clId="{96144185-44AB-413E-B06D-E6EA4CAF26EB}" dt="2020-01-30T15:59:04.257" v="132" actId="47"/>
        <pc:sldMkLst>
          <pc:docMk/>
          <pc:sldMk cId="1232005764" sldId="2076136864"/>
        </pc:sldMkLst>
      </pc:sldChg>
      <pc:sldChg chg="del">
        <pc:chgData name="Jack Tracey" userId="98dee47e-7932-4ede-ad91-867e883fbe46" providerId="ADAL" clId="{96144185-44AB-413E-B06D-E6EA4CAF26EB}" dt="2020-01-30T15:59:04.257" v="132" actId="47"/>
        <pc:sldMkLst>
          <pc:docMk/>
          <pc:sldMk cId="1630211687" sldId="2076136868"/>
        </pc:sldMkLst>
      </pc:sldChg>
      <pc:sldChg chg="del">
        <pc:chgData name="Jack Tracey" userId="98dee47e-7932-4ede-ad91-867e883fbe46" providerId="ADAL" clId="{96144185-44AB-413E-B06D-E6EA4CAF26EB}" dt="2020-01-30T15:59:04.257" v="132" actId="47"/>
        <pc:sldMkLst>
          <pc:docMk/>
          <pc:sldMk cId="3618126319" sldId="2076136877"/>
        </pc:sldMkLst>
      </pc:sldChg>
      <pc:sldChg chg="del">
        <pc:chgData name="Jack Tracey" userId="98dee47e-7932-4ede-ad91-867e883fbe46" providerId="ADAL" clId="{96144185-44AB-413E-B06D-E6EA4CAF26EB}" dt="2020-01-30T15:59:04.257" v="132" actId="47"/>
        <pc:sldMkLst>
          <pc:docMk/>
          <pc:sldMk cId="2329750348" sldId="2076136881"/>
        </pc:sldMkLst>
      </pc:sldChg>
      <pc:sldChg chg="del">
        <pc:chgData name="Jack Tracey" userId="98dee47e-7932-4ede-ad91-867e883fbe46" providerId="ADAL" clId="{96144185-44AB-413E-B06D-E6EA4CAF26EB}" dt="2020-01-30T15:59:04.257" v="132" actId="47"/>
        <pc:sldMkLst>
          <pc:docMk/>
          <pc:sldMk cId="1426530745" sldId="2076136909"/>
        </pc:sldMkLst>
      </pc:sldChg>
      <pc:sldChg chg="del">
        <pc:chgData name="Jack Tracey" userId="98dee47e-7932-4ede-ad91-867e883fbe46" providerId="ADAL" clId="{96144185-44AB-413E-B06D-E6EA4CAF26EB}" dt="2020-01-30T15:59:04.257" v="132" actId="47"/>
        <pc:sldMkLst>
          <pc:docMk/>
          <pc:sldMk cId="2684333612" sldId="2076136920"/>
        </pc:sldMkLst>
      </pc:sldChg>
      <pc:sldChg chg="del">
        <pc:chgData name="Jack Tracey" userId="98dee47e-7932-4ede-ad91-867e883fbe46" providerId="ADAL" clId="{96144185-44AB-413E-B06D-E6EA4CAF26EB}" dt="2020-01-30T15:59:04.257" v="132" actId="47"/>
        <pc:sldMkLst>
          <pc:docMk/>
          <pc:sldMk cId="262193409" sldId="2076136984"/>
        </pc:sldMkLst>
      </pc:sldChg>
      <pc:sldChg chg="del">
        <pc:chgData name="Jack Tracey" userId="98dee47e-7932-4ede-ad91-867e883fbe46" providerId="ADAL" clId="{96144185-44AB-413E-B06D-E6EA4CAF26EB}" dt="2020-01-30T15:59:04.257" v="132" actId="47"/>
        <pc:sldMkLst>
          <pc:docMk/>
          <pc:sldMk cId="1602333763" sldId="2076136988"/>
        </pc:sldMkLst>
      </pc:sldChg>
      <pc:sldChg chg="del">
        <pc:chgData name="Jack Tracey" userId="98dee47e-7932-4ede-ad91-867e883fbe46" providerId="ADAL" clId="{96144185-44AB-413E-B06D-E6EA4CAF26EB}" dt="2020-01-30T15:59:04.257" v="132" actId="47"/>
        <pc:sldMkLst>
          <pc:docMk/>
          <pc:sldMk cId="1512282852" sldId="2076136999"/>
        </pc:sldMkLst>
      </pc:sldChg>
      <pc:sldChg chg="del">
        <pc:chgData name="Jack Tracey" userId="98dee47e-7932-4ede-ad91-867e883fbe46" providerId="ADAL" clId="{96144185-44AB-413E-B06D-E6EA4CAF26EB}" dt="2020-01-30T15:59:04.257" v="132" actId="47"/>
        <pc:sldMkLst>
          <pc:docMk/>
          <pc:sldMk cId="292707611" sldId="2076137121"/>
        </pc:sldMkLst>
      </pc:sldChg>
      <pc:sldChg chg="del">
        <pc:chgData name="Jack Tracey" userId="98dee47e-7932-4ede-ad91-867e883fbe46" providerId="ADAL" clId="{96144185-44AB-413E-B06D-E6EA4CAF26EB}" dt="2020-01-30T15:59:04.257" v="132" actId="47"/>
        <pc:sldMkLst>
          <pc:docMk/>
          <pc:sldMk cId="4204827669" sldId="2076137164"/>
        </pc:sldMkLst>
      </pc:sldChg>
      <pc:sldChg chg="del">
        <pc:chgData name="Jack Tracey" userId="98dee47e-7932-4ede-ad91-867e883fbe46" providerId="ADAL" clId="{96144185-44AB-413E-B06D-E6EA4CAF26EB}" dt="2020-01-30T15:59:04.257" v="132" actId="47"/>
        <pc:sldMkLst>
          <pc:docMk/>
          <pc:sldMk cId="1176442548" sldId="2076137166"/>
        </pc:sldMkLst>
      </pc:sldChg>
      <pc:sldChg chg="del">
        <pc:chgData name="Jack Tracey" userId="98dee47e-7932-4ede-ad91-867e883fbe46" providerId="ADAL" clId="{96144185-44AB-413E-B06D-E6EA4CAF26EB}" dt="2020-01-30T15:59:04.257" v="132" actId="47"/>
        <pc:sldMkLst>
          <pc:docMk/>
          <pc:sldMk cId="2199867076" sldId="2076137174"/>
        </pc:sldMkLst>
      </pc:sldChg>
      <pc:sldChg chg="del">
        <pc:chgData name="Jack Tracey" userId="98dee47e-7932-4ede-ad91-867e883fbe46" providerId="ADAL" clId="{96144185-44AB-413E-B06D-E6EA4CAF26EB}" dt="2020-01-30T15:59:04.257" v="132" actId="47"/>
        <pc:sldMkLst>
          <pc:docMk/>
          <pc:sldMk cId="94740157" sldId="2076137175"/>
        </pc:sldMkLst>
      </pc:sldChg>
      <pc:sldChg chg="del">
        <pc:chgData name="Jack Tracey" userId="98dee47e-7932-4ede-ad91-867e883fbe46" providerId="ADAL" clId="{96144185-44AB-413E-B06D-E6EA4CAF26EB}" dt="2020-01-30T15:59:04.257" v="132" actId="47"/>
        <pc:sldMkLst>
          <pc:docMk/>
          <pc:sldMk cId="4054559228" sldId="2076137177"/>
        </pc:sldMkLst>
      </pc:sldChg>
      <pc:sldChg chg="del">
        <pc:chgData name="Jack Tracey" userId="98dee47e-7932-4ede-ad91-867e883fbe46" providerId="ADAL" clId="{96144185-44AB-413E-B06D-E6EA4CAF26EB}" dt="2020-01-30T15:59:04.257" v="132" actId="47"/>
        <pc:sldMkLst>
          <pc:docMk/>
          <pc:sldMk cId="885360272" sldId="2076137185"/>
        </pc:sldMkLst>
      </pc:sldChg>
      <pc:sldChg chg="del">
        <pc:chgData name="Jack Tracey" userId="98dee47e-7932-4ede-ad91-867e883fbe46" providerId="ADAL" clId="{96144185-44AB-413E-B06D-E6EA4CAF26EB}" dt="2020-01-30T15:59:04.257" v="132" actId="47"/>
        <pc:sldMkLst>
          <pc:docMk/>
          <pc:sldMk cId="362652571" sldId="2076137188"/>
        </pc:sldMkLst>
      </pc:sldChg>
      <pc:sldChg chg="del">
        <pc:chgData name="Jack Tracey" userId="98dee47e-7932-4ede-ad91-867e883fbe46" providerId="ADAL" clId="{96144185-44AB-413E-B06D-E6EA4CAF26EB}" dt="2020-01-30T15:59:04.257" v="132" actId="47"/>
        <pc:sldMkLst>
          <pc:docMk/>
          <pc:sldMk cId="857362003" sldId="2076137194"/>
        </pc:sldMkLst>
      </pc:sldChg>
      <pc:sldChg chg="del">
        <pc:chgData name="Jack Tracey" userId="98dee47e-7932-4ede-ad91-867e883fbe46" providerId="ADAL" clId="{96144185-44AB-413E-B06D-E6EA4CAF26EB}" dt="2020-01-30T15:59:04.257" v="132" actId="47"/>
        <pc:sldMkLst>
          <pc:docMk/>
          <pc:sldMk cId="1926253801" sldId="2076137195"/>
        </pc:sldMkLst>
      </pc:sldChg>
      <pc:sldChg chg="del">
        <pc:chgData name="Jack Tracey" userId="98dee47e-7932-4ede-ad91-867e883fbe46" providerId="ADAL" clId="{96144185-44AB-413E-B06D-E6EA4CAF26EB}" dt="2020-01-30T15:59:04.257" v="132" actId="47"/>
        <pc:sldMkLst>
          <pc:docMk/>
          <pc:sldMk cId="1142796422" sldId="2076137203"/>
        </pc:sldMkLst>
      </pc:sldChg>
      <pc:sldChg chg="del">
        <pc:chgData name="Jack Tracey" userId="98dee47e-7932-4ede-ad91-867e883fbe46" providerId="ADAL" clId="{96144185-44AB-413E-B06D-E6EA4CAF26EB}" dt="2020-01-30T15:59:04.257" v="132" actId="47"/>
        <pc:sldMkLst>
          <pc:docMk/>
          <pc:sldMk cId="3986760024" sldId="2076137207"/>
        </pc:sldMkLst>
      </pc:sldChg>
      <pc:sldChg chg="del">
        <pc:chgData name="Jack Tracey" userId="98dee47e-7932-4ede-ad91-867e883fbe46" providerId="ADAL" clId="{96144185-44AB-413E-B06D-E6EA4CAF26EB}" dt="2020-01-30T15:59:04.257" v="132" actId="47"/>
        <pc:sldMkLst>
          <pc:docMk/>
          <pc:sldMk cId="3027521582" sldId="2076137255"/>
        </pc:sldMkLst>
      </pc:sldChg>
      <pc:sldChg chg="del">
        <pc:chgData name="Jack Tracey" userId="98dee47e-7932-4ede-ad91-867e883fbe46" providerId="ADAL" clId="{96144185-44AB-413E-B06D-E6EA4CAF26EB}" dt="2020-01-30T15:59:04.257" v="132" actId="47"/>
        <pc:sldMkLst>
          <pc:docMk/>
          <pc:sldMk cId="2834816348" sldId="2076137269"/>
        </pc:sldMkLst>
      </pc:sldChg>
      <pc:sldChg chg="del">
        <pc:chgData name="Jack Tracey" userId="98dee47e-7932-4ede-ad91-867e883fbe46" providerId="ADAL" clId="{96144185-44AB-413E-B06D-E6EA4CAF26EB}" dt="2020-01-30T15:59:04.257" v="132" actId="47"/>
        <pc:sldMkLst>
          <pc:docMk/>
          <pc:sldMk cId="887686035" sldId="2076137270"/>
        </pc:sldMkLst>
      </pc:sldChg>
      <pc:sldChg chg="del">
        <pc:chgData name="Jack Tracey" userId="98dee47e-7932-4ede-ad91-867e883fbe46" providerId="ADAL" clId="{96144185-44AB-413E-B06D-E6EA4CAF26EB}" dt="2020-01-30T15:59:04.257" v="132" actId="47"/>
        <pc:sldMkLst>
          <pc:docMk/>
          <pc:sldMk cId="3860406033" sldId="2076137272"/>
        </pc:sldMkLst>
      </pc:sldChg>
      <pc:sldChg chg="del">
        <pc:chgData name="Jack Tracey" userId="98dee47e-7932-4ede-ad91-867e883fbe46" providerId="ADAL" clId="{96144185-44AB-413E-B06D-E6EA4CAF26EB}" dt="2020-01-30T15:59:04.257" v="132" actId="47"/>
        <pc:sldMkLst>
          <pc:docMk/>
          <pc:sldMk cId="3747981253" sldId="2076137273"/>
        </pc:sldMkLst>
      </pc:sldChg>
      <pc:sldMasterChg chg="delSldLayout">
        <pc:chgData name="Jack Tracey" userId="98dee47e-7932-4ede-ad91-867e883fbe46" providerId="ADAL" clId="{96144185-44AB-413E-B06D-E6EA4CAF26EB}" dt="2020-01-30T15:59:04.257" v="132" actId="47"/>
        <pc:sldMasterMkLst>
          <pc:docMk/>
          <pc:sldMasterMk cId="0" sldId="2147483648"/>
        </pc:sldMasterMkLst>
        <pc:sldLayoutChg chg="del">
          <pc:chgData name="Jack Tracey" userId="98dee47e-7932-4ede-ad91-867e883fbe46" providerId="ADAL" clId="{96144185-44AB-413E-B06D-E6EA4CAF26EB}" dt="2020-01-30T15:59:04.257" v="132" actId="47"/>
          <pc:sldLayoutMkLst>
            <pc:docMk/>
            <pc:sldMasterMk cId="0" sldId="2147483648"/>
            <pc:sldLayoutMk cId="338372836" sldId="2147483679"/>
          </pc:sldLayoutMkLst>
        </pc:sldLayoutChg>
      </pc:sldMasterChg>
      <pc:sldMasterChg chg="del delSldLayout">
        <pc:chgData name="Jack Tracey" userId="98dee47e-7932-4ede-ad91-867e883fbe46" providerId="ADAL" clId="{96144185-44AB-413E-B06D-E6EA4CAF26EB}" dt="2020-01-30T15:59:04.257" v="132" actId="47"/>
        <pc:sldMasterMkLst>
          <pc:docMk/>
          <pc:sldMasterMk cId="1801480295" sldId="2147483680"/>
        </pc:sldMasterMkLst>
        <pc:sldLayoutChg chg="del">
          <pc:chgData name="Jack Tracey" userId="98dee47e-7932-4ede-ad91-867e883fbe46" providerId="ADAL" clId="{96144185-44AB-413E-B06D-E6EA4CAF26EB}" dt="2020-01-30T15:59:04.257" v="132" actId="47"/>
          <pc:sldLayoutMkLst>
            <pc:docMk/>
            <pc:sldMasterMk cId="1801480295" sldId="2147483680"/>
            <pc:sldLayoutMk cId="3741115101" sldId="2147483681"/>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4187610180" sldId="2147483682"/>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4235407269" sldId="2147483683"/>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2699148375" sldId="2147483684"/>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911564443" sldId="2147483685"/>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4129030727" sldId="2147483686"/>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1675390801" sldId="2147483687"/>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3550646532" sldId="2147483688"/>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1608350220" sldId="2147483689"/>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271024457" sldId="2147483690"/>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2144090270" sldId="2147483691"/>
          </pc:sldLayoutMkLst>
        </pc:sldLayoutChg>
        <pc:sldLayoutChg chg="del">
          <pc:chgData name="Jack Tracey" userId="98dee47e-7932-4ede-ad91-867e883fbe46" providerId="ADAL" clId="{96144185-44AB-413E-B06D-E6EA4CAF26EB}" dt="2020-01-30T15:59:04.257" v="132" actId="47"/>
          <pc:sldLayoutMkLst>
            <pc:docMk/>
            <pc:sldMasterMk cId="1801480295" sldId="2147483680"/>
            <pc:sldLayoutMk cId="1034329972" sldId="2147483692"/>
          </pc:sldLayoutMkLst>
        </pc:sldLayoutChg>
      </pc:sldMasterChg>
      <pc:sldMasterChg chg="delSldLayout">
        <pc:chgData name="Jack Tracey" userId="98dee47e-7932-4ede-ad91-867e883fbe46" providerId="ADAL" clId="{96144185-44AB-413E-B06D-E6EA4CAF26EB}" dt="2020-01-30T15:59:04.257" v="132" actId="47"/>
        <pc:sldMasterMkLst>
          <pc:docMk/>
          <pc:sldMasterMk cId="2898032449" sldId="2147483693"/>
        </pc:sldMasterMkLst>
        <pc:sldLayoutChg chg="del">
          <pc:chgData name="Jack Tracey" userId="98dee47e-7932-4ede-ad91-867e883fbe46" providerId="ADAL" clId="{96144185-44AB-413E-B06D-E6EA4CAF26EB}" dt="2020-01-30T15:59:04.257" v="132" actId="47"/>
          <pc:sldLayoutMkLst>
            <pc:docMk/>
            <pc:sldMasterMk cId="2898032449" sldId="2147483693"/>
            <pc:sldLayoutMk cId="308609104" sldId="2147483725"/>
          </pc:sldLayoutMkLst>
        </pc:sldLayoutChg>
      </pc:sldMasterChg>
      <pc:sldMasterChg chg="delSldLayout">
        <pc:chgData name="Jack Tracey" userId="98dee47e-7932-4ede-ad91-867e883fbe46" providerId="ADAL" clId="{96144185-44AB-413E-B06D-E6EA4CAF26EB}" dt="2020-01-30T15:59:04.257" v="132" actId="47"/>
        <pc:sldMasterMkLst>
          <pc:docMk/>
          <pc:sldMasterMk cId="3796129611" sldId="2147483852"/>
        </pc:sldMasterMkLst>
        <pc:sldLayoutChg chg="del">
          <pc:chgData name="Jack Tracey" userId="98dee47e-7932-4ede-ad91-867e883fbe46" providerId="ADAL" clId="{96144185-44AB-413E-B06D-E6EA4CAF26EB}" dt="2020-01-30T15:59:04.257" v="132" actId="47"/>
          <pc:sldLayoutMkLst>
            <pc:docMk/>
            <pc:sldMasterMk cId="3796129611" sldId="2147483852"/>
            <pc:sldLayoutMk cId="118984094" sldId="2147483885"/>
          </pc:sldLayoutMkLst>
        </pc:sldLayoutChg>
      </pc:sldMasterChg>
      <pc:sldMasterChg chg="delSldLayout">
        <pc:chgData name="Jack Tracey" userId="98dee47e-7932-4ede-ad91-867e883fbe46" providerId="ADAL" clId="{96144185-44AB-413E-B06D-E6EA4CAF26EB}" dt="2020-01-30T15:59:04.257" v="132" actId="47"/>
        <pc:sldMasterMkLst>
          <pc:docMk/>
          <pc:sldMasterMk cId="776067945" sldId="2147483921"/>
        </pc:sldMasterMkLst>
        <pc:sldLayoutChg chg="del">
          <pc:chgData name="Jack Tracey" userId="98dee47e-7932-4ede-ad91-867e883fbe46" providerId="ADAL" clId="{96144185-44AB-413E-B06D-E6EA4CAF26EB}" dt="2020-01-30T15:59:04.257" v="132" actId="47"/>
          <pc:sldLayoutMkLst>
            <pc:docMk/>
            <pc:sldMasterMk cId="776067945" sldId="2147483921"/>
            <pc:sldLayoutMk cId="650578483" sldId="2147483954"/>
          </pc:sldLayoutMkLst>
        </pc:sldLayoutChg>
      </pc:sldMasterChg>
      <pc:sldMasterChg chg="delSldLayout">
        <pc:chgData name="Jack Tracey" userId="98dee47e-7932-4ede-ad91-867e883fbe46" providerId="ADAL" clId="{96144185-44AB-413E-B06D-E6EA4CAF26EB}" dt="2020-01-30T15:59:04.257" v="132" actId="47"/>
        <pc:sldMasterMkLst>
          <pc:docMk/>
          <pc:sldMasterMk cId="1388591118" sldId="2147483957"/>
        </pc:sldMasterMkLst>
        <pc:sldLayoutChg chg="del">
          <pc:chgData name="Jack Tracey" userId="98dee47e-7932-4ede-ad91-867e883fbe46" providerId="ADAL" clId="{96144185-44AB-413E-B06D-E6EA4CAF26EB}" dt="2020-01-30T15:59:04.257" v="132" actId="47"/>
          <pc:sldLayoutMkLst>
            <pc:docMk/>
            <pc:sldMasterMk cId="1388591118" sldId="2147483957"/>
            <pc:sldLayoutMk cId="1526440827" sldId="2147483989"/>
          </pc:sldLayoutMkLst>
        </pc:sldLayoutChg>
      </pc:sldMasterChg>
      <pc:sldMasterChg chg="delSldLayout">
        <pc:chgData name="Jack Tracey" userId="98dee47e-7932-4ede-ad91-867e883fbe46" providerId="ADAL" clId="{96144185-44AB-413E-B06D-E6EA4CAF26EB}" dt="2020-01-30T15:59:04.257" v="132" actId="47"/>
        <pc:sldMasterMkLst>
          <pc:docMk/>
          <pc:sldMasterMk cId="117258962" sldId="2147483993"/>
        </pc:sldMasterMkLst>
        <pc:sldLayoutChg chg="del">
          <pc:chgData name="Jack Tracey" userId="98dee47e-7932-4ede-ad91-867e883fbe46" providerId="ADAL" clId="{96144185-44AB-413E-B06D-E6EA4CAF26EB}" dt="2020-01-30T15:59:04.257" v="132" actId="47"/>
          <pc:sldLayoutMkLst>
            <pc:docMk/>
            <pc:sldMasterMk cId="117258962" sldId="2147483993"/>
            <pc:sldLayoutMk cId="1787781" sldId="2147484025"/>
          </pc:sldLayoutMkLst>
        </pc:sldLayoutChg>
      </pc:sldMasterChg>
    </pc:docChg>
  </pc:docChgLst>
  <pc:docChgLst>
    <pc:chgData name="Ryan" userId="e455dac8-f9aa-4cf6-ad37-fb5765c604eb" providerId="ADAL" clId="{6F1259D5-6020-4B17-A919-DA0F5CFA56FC}"/>
    <pc:docChg chg="custSel delSld modSld">
      <pc:chgData name="Ryan" userId="e455dac8-f9aa-4cf6-ad37-fb5765c604eb" providerId="ADAL" clId="{6F1259D5-6020-4B17-A919-DA0F5CFA56FC}" dt="2020-03-25T16:37:20.818" v="241" actId="2165"/>
      <pc:docMkLst>
        <pc:docMk/>
      </pc:docMkLst>
      <pc:sldChg chg="modSp mod">
        <pc:chgData name="Ryan" userId="e455dac8-f9aa-4cf6-ad37-fb5765c604eb" providerId="ADAL" clId="{6F1259D5-6020-4B17-A919-DA0F5CFA56FC}" dt="2020-03-25T11:07:04.824" v="25" actId="20577"/>
        <pc:sldMkLst>
          <pc:docMk/>
          <pc:sldMk cId="1620967048" sldId="539"/>
        </pc:sldMkLst>
        <pc:spChg chg="mod">
          <ac:chgData name="Ryan" userId="e455dac8-f9aa-4cf6-ad37-fb5765c604eb" providerId="ADAL" clId="{6F1259D5-6020-4B17-A919-DA0F5CFA56FC}" dt="2020-03-25T11:06:53.535" v="4" actId="20577"/>
          <ac:spMkLst>
            <pc:docMk/>
            <pc:sldMk cId="1620967048" sldId="539"/>
            <ac:spMk id="7" creationId="{3041B32A-7E40-4D4B-ACE4-D8C665F8B323}"/>
          </ac:spMkLst>
        </pc:spChg>
        <pc:spChg chg="mod">
          <ac:chgData name="Ryan" userId="e455dac8-f9aa-4cf6-ad37-fb5765c604eb" providerId="ADAL" clId="{6F1259D5-6020-4B17-A919-DA0F5CFA56FC}" dt="2020-03-25T11:07:04.824" v="25" actId="20577"/>
          <ac:spMkLst>
            <pc:docMk/>
            <pc:sldMk cId="1620967048" sldId="539"/>
            <ac:spMk id="10" creationId="{1B800DE3-CF57-4603-8854-4529CC0A5DD9}"/>
          </ac:spMkLst>
        </pc:spChg>
      </pc:sldChg>
      <pc:sldChg chg="modSp">
        <pc:chgData name="Ryan" userId="e455dac8-f9aa-4cf6-ad37-fb5765c604eb" providerId="ADAL" clId="{6F1259D5-6020-4B17-A919-DA0F5CFA56FC}" dt="2020-03-25T11:07:40.070" v="90" actId="20577"/>
        <pc:sldMkLst>
          <pc:docMk/>
          <pc:sldMk cId="3679143134" sldId="541"/>
        </pc:sldMkLst>
        <pc:spChg chg="mod">
          <ac:chgData name="Ryan" userId="e455dac8-f9aa-4cf6-ad37-fb5765c604eb" providerId="ADAL" clId="{6F1259D5-6020-4B17-A919-DA0F5CFA56FC}" dt="2020-03-25T11:07:40.070" v="90" actId="20577"/>
          <ac:spMkLst>
            <pc:docMk/>
            <pc:sldMk cId="3679143134" sldId="541"/>
            <ac:spMk id="10" creationId="{1B800DE3-CF57-4603-8854-4529CC0A5DD9}"/>
          </ac:spMkLst>
        </pc:spChg>
      </pc:sldChg>
      <pc:sldChg chg="addSp delSp modSp mod delAnim">
        <pc:chgData name="Ryan" userId="e455dac8-f9aa-4cf6-ad37-fb5765c604eb" providerId="ADAL" clId="{6F1259D5-6020-4B17-A919-DA0F5CFA56FC}" dt="2020-03-25T14:03:02.111" v="236" actId="20577"/>
        <pc:sldMkLst>
          <pc:docMk/>
          <pc:sldMk cId="2714039227" sldId="543"/>
        </pc:sldMkLst>
        <pc:spChg chg="mod">
          <ac:chgData name="Ryan" userId="e455dac8-f9aa-4cf6-ad37-fb5765c604eb" providerId="ADAL" clId="{6F1259D5-6020-4B17-A919-DA0F5CFA56FC}" dt="2020-03-25T14:03:02.111" v="236" actId="20577"/>
          <ac:spMkLst>
            <pc:docMk/>
            <pc:sldMk cId="2714039227" sldId="543"/>
            <ac:spMk id="2" creationId="{39233361-26D1-4118-99CB-A5545E724B8F}"/>
          </ac:spMkLst>
        </pc:spChg>
        <pc:grpChg chg="del">
          <ac:chgData name="Ryan" userId="e455dac8-f9aa-4cf6-ad37-fb5765c604eb" providerId="ADAL" clId="{6F1259D5-6020-4B17-A919-DA0F5CFA56FC}" dt="2020-03-25T11:08:53.140" v="111" actId="478"/>
          <ac:grpSpMkLst>
            <pc:docMk/>
            <pc:sldMk cId="2714039227" sldId="543"/>
            <ac:grpSpMk id="7" creationId="{CE25B7A9-B330-4760-BDF4-91E54A750274}"/>
          </ac:grpSpMkLst>
        </pc:grpChg>
        <pc:picChg chg="add mod">
          <ac:chgData name="Ryan" userId="e455dac8-f9aa-4cf6-ad37-fb5765c604eb" providerId="ADAL" clId="{6F1259D5-6020-4B17-A919-DA0F5CFA56FC}" dt="2020-03-25T11:10:24.568" v="218" actId="1076"/>
          <ac:picMkLst>
            <pc:docMk/>
            <pc:sldMk cId="2714039227" sldId="543"/>
            <ac:picMk id="3" creationId="{52ED5EC1-37C7-41F6-8FB2-3AA3C4EC3A61}"/>
          </ac:picMkLst>
        </pc:picChg>
      </pc:sldChg>
      <pc:sldChg chg="del">
        <pc:chgData name="Ryan" userId="e455dac8-f9aa-4cf6-ad37-fb5765c604eb" providerId="ADAL" clId="{6F1259D5-6020-4B17-A919-DA0F5CFA56FC}" dt="2020-03-25T11:08:39.120" v="92" actId="2696"/>
        <pc:sldMkLst>
          <pc:docMk/>
          <pc:sldMk cId="1115611432" sldId="545"/>
        </pc:sldMkLst>
      </pc:sldChg>
      <pc:sldChg chg="del">
        <pc:chgData name="Ryan" userId="e455dac8-f9aa-4cf6-ad37-fb5765c604eb" providerId="ADAL" clId="{6F1259D5-6020-4B17-A919-DA0F5CFA56FC}" dt="2020-03-25T11:10:30.449" v="219" actId="2696"/>
        <pc:sldMkLst>
          <pc:docMk/>
          <pc:sldMk cId="4145438909" sldId="554"/>
        </pc:sldMkLst>
      </pc:sldChg>
      <pc:sldChg chg="modSp mod">
        <pc:chgData name="Ryan" userId="e455dac8-f9aa-4cf6-ad37-fb5765c604eb" providerId="ADAL" clId="{6F1259D5-6020-4B17-A919-DA0F5CFA56FC}" dt="2020-03-25T16:37:20.818" v="241" actId="2165"/>
        <pc:sldMkLst>
          <pc:docMk/>
          <pc:sldMk cId="670043725" sldId="556"/>
        </pc:sldMkLst>
        <pc:graphicFrameChg chg="mod modGraphic">
          <ac:chgData name="Ryan" userId="e455dac8-f9aa-4cf6-ad37-fb5765c604eb" providerId="ADAL" clId="{6F1259D5-6020-4B17-A919-DA0F5CFA56FC}" dt="2020-03-25T16:37:20.818" v="241" actId="2165"/>
          <ac:graphicFrameMkLst>
            <pc:docMk/>
            <pc:sldMk cId="670043725" sldId="556"/>
            <ac:graphicFrameMk id="2" creationId="{A8326A8E-B529-4FF3-BBC6-FDC472DE49B8}"/>
          </ac:graphicFrameMkLst>
        </pc:graphicFrameChg>
      </pc:sldChg>
      <pc:sldChg chg="modSp mod">
        <pc:chgData name="Ryan" userId="e455dac8-f9aa-4cf6-ad37-fb5765c604eb" providerId="ADAL" clId="{6F1259D5-6020-4B17-A919-DA0F5CFA56FC}" dt="2020-03-25T14:02:34.695" v="226" actId="5793"/>
        <pc:sldMkLst>
          <pc:docMk/>
          <pc:sldMk cId="2711889897" sldId="557"/>
        </pc:sldMkLst>
        <pc:spChg chg="mod">
          <ac:chgData name="Ryan" userId="e455dac8-f9aa-4cf6-ad37-fb5765c604eb" providerId="ADAL" clId="{6F1259D5-6020-4B17-A919-DA0F5CFA56FC}" dt="2020-03-25T14:02:34.695" v="226" actId="5793"/>
          <ac:spMkLst>
            <pc:docMk/>
            <pc:sldMk cId="2711889897" sldId="557"/>
            <ac:spMk id="10" creationId="{1B800DE3-CF57-4603-8854-4529CC0A5DD9}"/>
          </ac:spMkLst>
        </pc:spChg>
      </pc:sldChg>
      <pc:sldChg chg="del">
        <pc:chgData name="Ryan" userId="e455dac8-f9aa-4cf6-ad37-fb5765c604eb" providerId="ADAL" clId="{6F1259D5-6020-4B17-A919-DA0F5CFA56FC}" dt="2020-03-25T11:07:44.404" v="91" actId="2696"/>
        <pc:sldMkLst>
          <pc:docMk/>
          <pc:sldMk cId="2838649554" sldId="2058"/>
        </pc:sldMkLst>
      </pc:sldChg>
    </pc:docChg>
  </pc:docChgLst>
  <pc:docChgLst>
    <pc:chgData name="Ryan Littlemore" userId="e455dac8-f9aa-4cf6-ad37-fb5765c604eb" providerId="ADAL" clId="{6A2F506C-CBFD-456B-A995-FFE69BA9C338}"/>
    <pc:docChg chg="custSel modSld">
      <pc:chgData name="Ryan Littlemore" userId="e455dac8-f9aa-4cf6-ad37-fb5765c604eb" providerId="ADAL" clId="{6A2F506C-CBFD-456B-A995-FFE69BA9C338}" dt="2019-11-27T20:38:53.369" v="6" actId="20577"/>
      <pc:docMkLst>
        <pc:docMk/>
      </pc:docMkLst>
      <pc:sldChg chg="modSp mod">
        <pc:chgData name="Ryan Littlemore" userId="e455dac8-f9aa-4cf6-ad37-fb5765c604eb" providerId="ADAL" clId="{6A2F506C-CBFD-456B-A995-FFE69BA9C338}" dt="2019-11-27T17:18:01.991" v="1" actId="27636"/>
        <pc:sldMkLst>
          <pc:docMk/>
          <pc:sldMk cId="1826063434" sldId="260"/>
        </pc:sldMkLst>
        <pc:spChg chg="mod">
          <ac:chgData name="Ryan Littlemore" userId="e455dac8-f9aa-4cf6-ad37-fb5765c604eb" providerId="ADAL" clId="{6A2F506C-CBFD-456B-A995-FFE69BA9C338}" dt="2019-11-27T17:18:01.991" v="1" actId="27636"/>
          <ac:spMkLst>
            <pc:docMk/>
            <pc:sldMk cId="1826063434" sldId="260"/>
            <ac:spMk id="3" creationId="{FB77A8A2-BD64-4C21-977E-EAC2AC092B8D}"/>
          </ac:spMkLst>
        </pc:spChg>
      </pc:sldChg>
      <pc:sldChg chg="modSp">
        <pc:chgData name="Ryan Littlemore" userId="e455dac8-f9aa-4cf6-ad37-fb5765c604eb" providerId="ADAL" clId="{6A2F506C-CBFD-456B-A995-FFE69BA9C338}" dt="2019-11-27T17:18:01.786" v="0" actId="20577"/>
        <pc:sldMkLst>
          <pc:docMk/>
          <pc:sldMk cId="685333262" sldId="556"/>
        </pc:sldMkLst>
        <pc:spChg chg="mod">
          <ac:chgData name="Ryan Littlemore" userId="e455dac8-f9aa-4cf6-ad37-fb5765c604eb" providerId="ADAL" clId="{6A2F506C-CBFD-456B-A995-FFE69BA9C338}" dt="2019-11-27T17:18:01.786" v="0" actId="20577"/>
          <ac:spMkLst>
            <pc:docMk/>
            <pc:sldMk cId="685333262" sldId="556"/>
            <ac:spMk id="10" creationId="{1B800DE3-CF57-4603-8854-4529CC0A5DD9}"/>
          </ac:spMkLst>
        </pc:spChg>
      </pc:sldChg>
      <pc:sldChg chg="modSp mod">
        <pc:chgData name="Ryan Littlemore" userId="e455dac8-f9aa-4cf6-ad37-fb5765c604eb" providerId="ADAL" clId="{6A2F506C-CBFD-456B-A995-FFE69BA9C338}" dt="2019-11-27T20:38:53.369" v="6" actId="20577"/>
        <pc:sldMkLst>
          <pc:docMk/>
          <pc:sldMk cId="1618373852" sldId="558"/>
        </pc:sldMkLst>
        <pc:spChg chg="mod">
          <ac:chgData name="Ryan Littlemore" userId="e455dac8-f9aa-4cf6-ad37-fb5765c604eb" providerId="ADAL" clId="{6A2F506C-CBFD-456B-A995-FFE69BA9C338}" dt="2019-11-27T20:38:53.369" v="6" actId="20577"/>
          <ac:spMkLst>
            <pc:docMk/>
            <pc:sldMk cId="1618373852" sldId="558"/>
            <ac:spMk id="9" creationId="{2448901E-48B7-4417-BBB0-4E51F689A76D}"/>
          </ac:spMkLst>
        </pc:spChg>
        <pc:spChg chg="mod">
          <ac:chgData name="Ryan Littlemore" userId="e455dac8-f9aa-4cf6-ad37-fb5765c604eb" providerId="ADAL" clId="{6A2F506C-CBFD-456B-A995-FFE69BA9C338}" dt="2019-11-27T17:20:23.543" v="3" actId="20577"/>
          <ac:spMkLst>
            <pc:docMk/>
            <pc:sldMk cId="1618373852" sldId="558"/>
            <ac:spMk id="10" creationId="{1B800DE3-CF57-4603-8854-4529CC0A5DD9}"/>
          </ac:spMkLst>
        </pc:spChg>
      </pc:sldChg>
      <pc:sldChg chg="modSp">
        <pc:chgData name="Ryan Littlemore" userId="e455dac8-f9aa-4cf6-ad37-fb5765c604eb" providerId="ADAL" clId="{6A2F506C-CBFD-456B-A995-FFE69BA9C338}" dt="2019-11-27T17:20:55.714" v="4" actId="20577"/>
        <pc:sldMkLst>
          <pc:docMk/>
          <pc:sldMk cId="1270121980" sldId="563"/>
        </pc:sldMkLst>
        <pc:spChg chg="mod">
          <ac:chgData name="Ryan Littlemore" userId="e455dac8-f9aa-4cf6-ad37-fb5765c604eb" providerId="ADAL" clId="{6A2F506C-CBFD-456B-A995-FFE69BA9C338}" dt="2019-11-27T17:20:55.714" v="4" actId="20577"/>
          <ac:spMkLst>
            <pc:docMk/>
            <pc:sldMk cId="1270121980" sldId="563"/>
            <ac:spMk id="10" creationId="{1B800DE3-CF57-4603-8854-4529CC0A5DD9}"/>
          </ac:spMkLst>
        </pc:spChg>
      </pc:sldChg>
    </pc:docChg>
  </pc:docChgLst>
  <pc:docChgLst>
    <pc:chgData name="Ryan Littlemore" userId="e455dac8-f9aa-4cf6-ad37-fb5765c604eb" providerId="ADAL" clId="{BF2563C1-2911-421F-A294-AA963C5D6BCD}"/>
    <pc:docChg chg="modSld">
      <pc:chgData name="Ryan Littlemore" userId="e455dac8-f9aa-4cf6-ad37-fb5765c604eb" providerId="ADAL" clId="{BF2563C1-2911-421F-A294-AA963C5D6BCD}" dt="2019-06-14T11:24:20.339" v="44" actId="1076"/>
      <pc:docMkLst>
        <pc:docMk/>
      </pc:docMkLst>
      <pc:sldChg chg="modSp">
        <pc:chgData name="Ryan Littlemore" userId="e455dac8-f9aa-4cf6-ad37-fb5765c604eb" providerId="ADAL" clId="{BF2563C1-2911-421F-A294-AA963C5D6BCD}" dt="2019-06-14T11:24:20.339" v="44" actId="1076"/>
        <pc:sldMkLst>
          <pc:docMk/>
          <pc:sldMk cId="440760351" sldId="258"/>
        </pc:sldMkLst>
        <pc:spChg chg="mod">
          <ac:chgData name="Ryan Littlemore" userId="e455dac8-f9aa-4cf6-ad37-fb5765c604eb" providerId="ADAL" clId="{BF2563C1-2911-421F-A294-AA963C5D6BCD}" dt="2019-06-14T11:24:20.339" v="44" actId="1076"/>
          <ac:spMkLst>
            <pc:docMk/>
            <pc:sldMk cId="440760351" sldId="258"/>
            <ac:spMk id="2" creationId="{39233361-26D1-4118-99CB-A5545E724B8F}"/>
          </ac:spMkLst>
        </pc:spChg>
      </pc:sldChg>
      <pc:sldChg chg="addSp">
        <pc:chgData name="Ryan Littlemore" userId="e455dac8-f9aa-4cf6-ad37-fb5765c604eb" providerId="ADAL" clId="{BF2563C1-2911-421F-A294-AA963C5D6BCD}" dt="2019-06-14T09:07:16.197" v="2"/>
        <pc:sldMkLst>
          <pc:docMk/>
          <pc:sldMk cId="2323985547" sldId="507"/>
        </pc:sldMkLst>
        <pc:spChg chg="add">
          <ac:chgData name="Ryan Littlemore" userId="e455dac8-f9aa-4cf6-ad37-fb5765c604eb" providerId="ADAL" clId="{BF2563C1-2911-421F-A294-AA963C5D6BCD}" dt="2019-06-14T09:00:25.623" v="0"/>
          <ac:spMkLst>
            <pc:docMk/>
            <pc:sldMk cId="2323985547" sldId="507"/>
            <ac:spMk id="29" creationId="{41C5121F-B9BA-46B1-B888-E0C821190BB2}"/>
          </ac:spMkLst>
        </pc:spChg>
        <pc:picChg chg="add">
          <ac:chgData name="Ryan Littlemore" userId="e455dac8-f9aa-4cf6-ad37-fb5765c604eb" providerId="ADAL" clId="{BF2563C1-2911-421F-A294-AA963C5D6BCD}" dt="2019-06-14T09:06:44.040" v="1"/>
          <ac:picMkLst>
            <pc:docMk/>
            <pc:sldMk cId="2323985547" sldId="507"/>
            <ac:picMk id="4" creationId="{5BA294A7-FF57-49A2-83FE-6CA1B2EDD538}"/>
          </ac:picMkLst>
        </pc:picChg>
        <pc:picChg chg="add">
          <ac:chgData name="Ryan Littlemore" userId="e455dac8-f9aa-4cf6-ad37-fb5765c604eb" providerId="ADAL" clId="{BF2563C1-2911-421F-A294-AA963C5D6BCD}" dt="2019-06-14T09:07:16.197" v="2"/>
          <ac:picMkLst>
            <pc:docMk/>
            <pc:sldMk cId="2323985547" sldId="507"/>
            <ac:picMk id="5" creationId="{BF20B1D4-226B-4FAC-AF11-00BC52AA1A21}"/>
          </ac:picMkLst>
        </pc:picChg>
        <pc:picChg chg="add">
          <ac:chgData name="Ryan Littlemore" userId="e455dac8-f9aa-4cf6-ad37-fb5765c604eb" providerId="ADAL" clId="{BF2563C1-2911-421F-A294-AA963C5D6BCD}" dt="2019-06-14T09:00:25.623" v="0"/>
          <ac:picMkLst>
            <pc:docMk/>
            <pc:sldMk cId="2323985547" sldId="507"/>
            <ac:picMk id="30" creationId="{C802871A-E452-4312-9B1D-B7ABFCCE78B2}"/>
          </ac:picMkLst>
        </pc:picChg>
      </pc:sldChg>
    </pc:docChg>
  </pc:docChgLst>
  <pc:docChgLst>
    <pc:chgData name="Ryan Littlemore" userId="e455dac8-f9aa-4cf6-ad37-fb5765c604eb" providerId="ADAL" clId="{D511833C-370B-40FB-A16A-FED9E9768CCB}"/>
    <pc:docChg chg="modSld">
      <pc:chgData name="Ryan Littlemore" userId="e455dac8-f9aa-4cf6-ad37-fb5765c604eb" providerId="ADAL" clId="{D511833C-370B-40FB-A16A-FED9E9768CCB}" dt="2019-09-25T09:43:41.801" v="125" actId="20577"/>
      <pc:docMkLst>
        <pc:docMk/>
      </pc:docMkLst>
      <pc:sldChg chg="modSp modAnim">
        <pc:chgData name="Ryan Littlemore" userId="e455dac8-f9aa-4cf6-ad37-fb5765c604eb" providerId="ADAL" clId="{D511833C-370B-40FB-A16A-FED9E9768CCB}" dt="2019-09-25T09:43:41.801" v="125" actId="20577"/>
        <pc:sldMkLst>
          <pc:docMk/>
          <pc:sldMk cId="1115611432" sldId="545"/>
        </pc:sldMkLst>
        <pc:spChg chg="mod">
          <ac:chgData name="Ryan Littlemore" userId="e455dac8-f9aa-4cf6-ad37-fb5765c604eb" providerId="ADAL" clId="{D511833C-370B-40FB-A16A-FED9E9768CCB}" dt="2019-09-25T09:43:41.801" v="125" actId="20577"/>
          <ac:spMkLst>
            <pc:docMk/>
            <pc:sldMk cId="1115611432" sldId="545"/>
            <ac:spMk id="10" creationId="{1B800DE3-CF57-4603-8854-4529CC0A5DD9}"/>
          </ac:spMkLst>
        </pc:spChg>
      </pc:sldChg>
    </pc:docChg>
  </pc:docChgLst>
  <pc:docChgLst>
    <pc:chgData name="Jack Tracey" userId="98dee47e-7932-4ede-ad91-867e883fbe46" providerId="ADAL" clId="{DD81D8ED-D9AE-4F99-B198-C96DD3309743}"/>
    <pc:docChg chg="custSel modSld">
      <pc:chgData name="Jack Tracey" userId="98dee47e-7932-4ede-ad91-867e883fbe46" providerId="ADAL" clId="{DD81D8ED-D9AE-4F99-B198-C96DD3309743}" dt="2019-09-25T13:56:48.796" v="122" actId="20577"/>
      <pc:docMkLst>
        <pc:docMk/>
      </pc:docMkLst>
      <pc:sldChg chg="modSp">
        <pc:chgData name="Jack Tracey" userId="98dee47e-7932-4ede-ad91-867e883fbe46" providerId="ADAL" clId="{DD81D8ED-D9AE-4F99-B198-C96DD3309743}" dt="2019-09-25T13:45:12.169" v="2" actId="27636"/>
        <pc:sldMkLst>
          <pc:docMk/>
          <pc:sldMk cId="1826063434" sldId="260"/>
        </pc:sldMkLst>
        <pc:spChg chg="mod">
          <ac:chgData name="Jack Tracey" userId="98dee47e-7932-4ede-ad91-867e883fbe46" providerId="ADAL" clId="{DD81D8ED-D9AE-4F99-B198-C96DD3309743}" dt="2019-09-25T13:45:12.169" v="2" actId="27636"/>
          <ac:spMkLst>
            <pc:docMk/>
            <pc:sldMk cId="1826063434" sldId="260"/>
            <ac:spMk id="3" creationId="{FB77A8A2-BD64-4C21-977E-EAC2AC092B8D}"/>
          </ac:spMkLst>
        </pc:spChg>
      </pc:sldChg>
      <pc:sldChg chg="modSp">
        <pc:chgData name="Jack Tracey" userId="98dee47e-7932-4ede-ad91-867e883fbe46" providerId="ADAL" clId="{DD81D8ED-D9AE-4F99-B198-C96DD3309743}" dt="2019-09-25T13:56:48.796" v="122" actId="20577"/>
        <pc:sldMkLst>
          <pc:docMk/>
          <pc:sldMk cId="2323985547" sldId="507"/>
        </pc:sldMkLst>
        <pc:spChg chg="mod">
          <ac:chgData name="Jack Tracey" userId="98dee47e-7932-4ede-ad91-867e883fbe46" providerId="ADAL" clId="{DD81D8ED-D9AE-4F99-B198-C96DD3309743}" dt="2019-09-25T13:56:48.796" v="122" actId="20577"/>
          <ac:spMkLst>
            <pc:docMk/>
            <pc:sldMk cId="2323985547" sldId="507"/>
            <ac:spMk id="31" creationId="{89E4F5E5-661B-4968-86C4-527F2600534E}"/>
          </ac:spMkLst>
        </pc:spChg>
      </pc:sldChg>
      <pc:sldChg chg="modSp">
        <pc:chgData name="Jack Tracey" userId="98dee47e-7932-4ede-ad91-867e883fbe46" providerId="ADAL" clId="{DD81D8ED-D9AE-4F99-B198-C96DD3309743}" dt="2019-09-25T13:44:58.735" v="0" actId="1076"/>
        <pc:sldMkLst>
          <pc:docMk/>
          <pc:sldMk cId="1620967048" sldId="539"/>
        </pc:sldMkLst>
        <pc:spChg chg="mod">
          <ac:chgData name="Jack Tracey" userId="98dee47e-7932-4ede-ad91-867e883fbe46" providerId="ADAL" clId="{DD81D8ED-D9AE-4F99-B198-C96DD3309743}" dt="2019-09-25T13:44:58.735" v="0" actId="1076"/>
          <ac:spMkLst>
            <pc:docMk/>
            <pc:sldMk cId="1620967048" sldId="539"/>
            <ac:spMk id="7" creationId="{3041B32A-7E40-4D4B-ACE4-D8C665F8B323}"/>
          </ac:spMkLst>
        </pc:spChg>
      </pc:sldChg>
      <pc:sldChg chg="modSp modAnim">
        <pc:chgData name="Jack Tracey" userId="98dee47e-7932-4ede-ad91-867e883fbe46" providerId="ADAL" clId="{DD81D8ED-D9AE-4F99-B198-C96DD3309743}" dt="2019-09-25T13:46:34.986" v="39" actId="6549"/>
        <pc:sldMkLst>
          <pc:docMk/>
          <pc:sldMk cId="3679143134" sldId="541"/>
        </pc:sldMkLst>
        <pc:spChg chg="mod">
          <ac:chgData name="Jack Tracey" userId="98dee47e-7932-4ede-ad91-867e883fbe46" providerId="ADAL" clId="{DD81D8ED-D9AE-4F99-B198-C96DD3309743}" dt="2019-09-25T13:46:34.986" v="39" actId="6549"/>
          <ac:spMkLst>
            <pc:docMk/>
            <pc:sldMk cId="3679143134" sldId="541"/>
            <ac:spMk id="10" creationId="{1B800DE3-CF57-4603-8854-4529CC0A5DD9}"/>
          </ac:spMkLst>
        </pc:spChg>
      </pc:sldChg>
      <pc:sldChg chg="addSp modSp">
        <pc:chgData name="Jack Tracey" userId="98dee47e-7932-4ede-ad91-867e883fbe46" providerId="ADAL" clId="{DD81D8ED-D9AE-4F99-B198-C96DD3309743}" dt="2019-09-25T13:56:20.225" v="109" actId="1038"/>
        <pc:sldMkLst>
          <pc:docMk/>
          <pc:sldMk cId="3420653574" sldId="542"/>
        </pc:sldMkLst>
        <pc:spChg chg="mod">
          <ac:chgData name="Jack Tracey" userId="98dee47e-7932-4ede-ad91-867e883fbe46" providerId="ADAL" clId="{DD81D8ED-D9AE-4F99-B198-C96DD3309743}" dt="2019-09-25T13:48:53.944" v="62" actId="20577"/>
          <ac:spMkLst>
            <pc:docMk/>
            <pc:sldMk cId="3420653574" sldId="542"/>
            <ac:spMk id="2" creationId="{39233361-26D1-4118-99CB-A5545E724B8F}"/>
          </ac:spMkLst>
        </pc:spChg>
        <pc:spChg chg="mod">
          <ac:chgData name="Jack Tracey" userId="98dee47e-7932-4ede-ad91-867e883fbe46" providerId="ADAL" clId="{DD81D8ED-D9AE-4F99-B198-C96DD3309743}" dt="2019-09-25T13:56:13.983" v="85" actId="20577"/>
          <ac:spMkLst>
            <pc:docMk/>
            <pc:sldMk cId="3420653574" sldId="542"/>
            <ac:spMk id="6" creationId="{3C4DF524-A49C-4D90-B624-8CE07D1C1D0E}"/>
          </ac:spMkLst>
        </pc:spChg>
        <pc:grpChg chg="add mod">
          <ac:chgData name="Jack Tracey" userId="98dee47e-7932-4ede-ad91-867e883fbe46" providerId="ADAL" clId="{DD81D8ED-D9AE-4F99-B198-C96DD3309743}" dt="2019-09-25T13:56:20.225" v="109" actId="1038"/>
          <ac:grpSpMkLst>
            <pc:docMk/>
            <pc:sldMk cId="3420653574" sldId="542"/>
            <ac:grpSpMk id="4" creationId="{E89D9212-8CA7-4A54-BB40-CEB01A98420F}"/>
          </ac:grpSpMkLst>
        </pc:grpChg>
      </pc:sldChg>
      <pc:sldChg chg="addSp modSp">
        <pc:chgData name="Jack Tracey" userId="98dee47e-7932-4ede-ad91-867e883fbe46" providerId="ADAL" clId="{DD81D8ED-D9AE-4F99-B198-C96DD3309743}" dt="2019-09-25T13:52:04.876" v="75" actId="1076"/>
        <pc:sldMkLst>
          <pc:docMk/>
          <pc:sldMk cId="2714039227" sldId="543"/>
        </pc:sldMkLst>
        <pc:spChg chg="add mod">
          <ac:chgData name="Jack Tracey" userId="98dee47e-7932-4ede-ad91-867e883fbe46" providerId="ADAL" clId="{DD81D8ED-D9AE-4F99-B198-C96DD3309743}" dt="2019-09-25T13:51:56.276" v="74" actId="20577"/>
          <ac:spMkLst>
            <pc:docMk/>
            <pc:sldMk cId="2714039227" sldId="543"/>
            <ac:spMk id="4" creationId="{5B86382E-A400-43F6-A819-3ADA26FEF1AC}"/>
          </ac:spMkLst>
        </pc:spChg>
        <pc:grpChg chg="add mod">
          <ac:chgData name="Jack Tracey" userId="98dee47e-7932-4ede-ad91-867e883fbe46" providerId="ADAL" clId="{DD81D8ED-D9AE-4F99-B198-C96DD3309743}" dt="2019-09-25T13:52:04.876" v="75" actId="1076"/>
          <ac:grpSpMkLst>
            <pc:docMk/>
            <pc:sldMk cId="2714039227" sldId="543"/>
            <ac:grpSpMk id="3" creationId="{EEA76C39-B14A-40A1-BD69-48E224FC5E2F}"/>
          </ac:grpSpMkLst>
        </pc:grpChg>
        <pc:picChg chg="add mod">
          <ac:chgData name="Jack Tracey" userId="98dee47e-7932-4ede-ad91-867e883fbe46" providerId="ADAL" clId="{DD81D8ED-D9AE-4F99-B198-C96DD3309743}" dt="2019-09-25T13:49:19.193" v="67" actId="164"/>
          <ac:picMkLst>
            <pc:docMk/>
            <pc:sldMk cId="2714039227" sldId="543"/>
            <ac:picMk id="6" creationId="{0BE4DB5E-808E-49A8-AF92-2129FADA3F8E}"/>
          </ac:picMkLst>
        </pc:picChg>
      </pc:sldChg>
      <pc:sldChg chg="modSp">
        <pc:chgData name="Jack Tracey" userId="98dee47e-7932-4ede-ad91-867e883fbe46" providerId="ADAL" clId="{DD81D8ED-D9AE-4F99-B198-C96DD3309743}" dt="2019-09-25T13:45:21.783" v="6" actId="1076"/>
        <pc:sldMkLst>
          <pc:docMk/>
          <pc:sldMk cId="533326867" sldId="544"/>
        </pc:sldMkLst>
        <pc:spChg chg="mod">
          <ac:chgData name="Jack Tracey" userId="98dee47e-7932-4ede-ad91-867e883fbe46" providerId="ADAL" clId="{DD81D8ED-D9AE-4F99-B198-C96DD3309743}" dt="2019-09-25T13:45:21.783" v="6" actId="1076"/>
          <ac:spMkLst>
            <pc:docMk/>
            <pc:sldMk cId="533326867" sldId="544"/>
            <ac:spMk id="10" creationId="{1B800DE3-CF57-4603-8854-4529CC0A5DD9}"/>
          </ac:spMkLst>
        </pc:spChg>
      </pc:sldChg>
      <pc:sldChg chg="modSp">
        <pc:chgData name="Jack Tracey" userId="98dee47e-7932-4ede-ad91-867e883fbe46" providerId="ADAL" clId="{DD81D8ED-D9AE-4F99-B198-C96DD3309743}" dt="2019-09-25T13:47:43.601" v="59" actId="20577"/>
        <pc:sldMkLst>
          <pc:docMk/>
          <pc:sldMk cId="1115611432" sldId="545"/>
        </pc:sldMkLst>
        <pc:spChg chg="mod">
          <ac:chgData name="Jack Tracey" userId="98dee47e-7932-4ede-ad91-867e883fbe46" providerId="ADAL" clId="{DD81D8ED-D9AE-4F99-B198-C96DD3309743}" dt="2019-09-25T13:47:43.601" v="59" actId="20577"/>
          <ac:spMkLst>
            <pc:docMk/>
            <pc:sldMk cId="1115611432" sldId="545"/>
            <ac:spMk id="10" creationId="{1B800DE3-CF57-4603-8854-4529CC0A5DD9}"/>
          </ac:spMkLst>
        </pc:spChg>
      </pc:sldChg>
    </pc:docChg>
  </pc:docChgLst>
  <pc:docChgLst>
    <pc:chgData name="Ryan Littlemore" userId="e455dac8-f9aa-4cf6-ad37-fb5765c604eb" providerId="ADAL" clId="{A195CF85-C91C-4401-918C-4FBAD4D07645}"/>
    <pc:docChg chg="undo custSel addSld delSld modSld sldOrd">
      <pc:chgData name="Ryan Littlemore" userId="e455dac8-f9aa-4cf6-ad37-fb5765c604eb" providerId="ADAL" clId="{A195CF85-C91C-4401-918C-4FBAD4D07645}" dt="2020-01-30T17:52:19.756" v="350" actId="20577"/>
      <pc:docMkLst>
        <pc:docMk/>
      </pc:docMkLst>
      <pc:sldChg chg="modSp mod">
        <pc:chgData name="Ryan Littlemore" userId="e455dac8-f9aa-4cf6-ad37-fb5765c604eb" providerId="ADAL" clId="{A195CF85-C91C-4401-918C-4FBAD4D07645}" dt="2020-01-30T17:05:00.111" v="202" actId="27636"/>
        <pc:sldMkLst>
          <pc:docMk/>
          <pc:sldMk cId="1826063434" sldId="260"/>
        </pc:sldMkLst>
        <pc:spChg chg="mod">
          <ac:chgData name="Ryan Littlemore" userId="e455dac8-f9aa-4cf6-ad37-fb5765c604eb" providerId="ADAL" clId="{A195CF85-C91C-4401-918C-4FBAD4D07645}" dt="2020-01-30T17:05:00.111" v="202" actId="27636"/>
          <ac:spMkLst>
            <pc:docMk/>
            <pc:sldMk cId="1826063434" sldId="260"/>
            <ac:spMk id="3" creationId="{FB77A8A2-BD64-4C21-977E-EAC2AC092B8D}"/>
          </ac:spMkLst>
        </pc:spChg>
      </pc:sldChg>
      <pc:sldChg chg="modSp modAnim">
        <pc:chgData name="Ryan Littlemore" userId="e455dac8-f9aa-4cf6-ad37-fb5765c604eb" providerId="ADAL" clId="{A195CF85-C91C-4401-918C-4FBAD4D07645}" dt="2020-01-30T17:05:02.448" v="203" actId="20577"/>
        <pc:sldMkLst>
          <pc:docMk/>
          <pc:sldMk cId="3679143134" sldId="541"/>
        </pc:sldMkLst>
        <pc:spChg chg="mod">
          <ac:chgData name="Ryan Littlemore" userId="e455dac8-f9aa-4cf6-ad37-fb5765c604eb" providerId="ADAL" clId="{A195CF85-C91C-4401-918C-4FBAD4D07645}" dt="2020-01-30T17:05:02.448" v="203" actId="20577"/>
          <ac:spMkLst>
            <pc:docMk/>
            <pc:sldMk cId="3679143134" sldId="541"/>
            <ac:spMk id="10" creationId="{1B800DE3-CF57-4603-8854-4529CC0A5DD9}"/>
          </ac:spMkLst>
        </pc:spChg>
      </pc:sldChg>
      <pc:sldChg chg="modSp add del mod ord">
        <pc:chgData name="Ryan Littlemore" userId="e455dac8-f9aa-4cf6-ad37-fb5765c604eb" providerId="ADAL" clId="{A195CF85-C91C-4401-918C-4FBAD4D07645}" dt="2020-01-30T16:10:28.922" v="88" actId="2696"/>
        <pc:sldMkLst>
          <pc:docMk/>
          <pc:sldMk cId="3095826707" sldId="555"/>
        </pc:sldMkLst>
        <pc:spChg chg="mod">
          <ac:chgData name="Ryan Littlemore" userId="e455dac8-f9aa-4cf6-ad37-fb5765c604eb" providerId="ADAL" clId="{A195CF85-C91C-4401-918C-4FBAD4D07645}" dt="2020-01-30T16:10:21.527" v="83" actId="27636"/>
          <ac:spMkLst>
            <pc:docMk/>
            <pc:sldMk cId="3095826707" sldId="555"/>
            <ac:spMk id="3" creationId="{49221900-25F9-4EE2-8B3E-7F2EE5DE10BB}"/>
          </ac:spMkLst>
        </pc:spChg>
        <pc:spChg chg="mod">
          <ac:chgData name="Ryan Littlemore" userId="e455dac8-f9aa-4cf6-ad37-fb5765c604eb" providerId="ADAL" clId="{A195CF85-C91C-4401-918C-4FBAD4D07645}" dt="2020-01-30T16:10:21.525" v="82" actId="27636"/>
          <ac:spMkLst>
            <pc:docMk/>
            <pc:sldMk cId="3095826707" sldId="555"/>
            <ac:spMk id="4" creationId="{EAC4AC83-DD7D-4988-8EA0-B0EB659C6079}"/>
          </ac:spMkLst>
        </pc:spChg>
      </pc:sldChg>
      <pc:sldChg chg="addSp delSp modSp add mod delAnim modAnim">
        <pc:chgData name="Ryan Littlemore" userId="e455dac8-f9aa-4cf6-ad37-fb5765c604eb" providerId="ADAL" clId="{A195CF85-C91C-4401-918C-4FBAD4D07645}" dt="2020-01-30T17:52:19.756" v="350" actId="20577"/>
        <pc:sldMkLst>
          <pc:docMk/>
          <pc:sldMk cId="670043725" sldId="556"/>
        </pc:sldMkLst>
        <pc:spChg chg="mod">
          <ac:chgData name="Ryan Littlemore" userId="e455dac8-f9aa-4cf6-ad37-fb5765c604eb" providerId="ADAL" clId="{A195CF85-C91C-4401-918C-4FBAD4D07645}" dt="2020-01-30T17:51:56.059" v="344" actId="14100"/>
          <ac:spMkLst>
            <pc:docMk/>
            <pc:sldMk cId="670043725" sldId="556"/>
            <ac:spMk id="8" creationId="{022A2DF9-416C-4715-A4CE-B77A82E740E9}"/>
          </ac:spMkLst>
        </pc:spChg>
        <pc:spChg chg="mod">
          <ac:chgData name="Ryan Littlemore" userId="e455dac8-f9aa-4cf6-ad37-fb5765c604eb" providerId="ADAL" clId="{A195CF85-C91C-4401-918C-4FBAD4D07645}" dt="2020-01-30T17:51:52.280" v="343" actId="27636"/>
          <ac:spMkLst>
            <pc:docMk/>
            <pc:sldMk cId="670043725" sldId="556"/>
            <ac:spMk id="9" creationId="{2448901E-48B7-4417-BBB0-4E51F689A76D}"/>
          </ac:spMkLst>
        </pc:spChg>
        <pc:spChg chg="del mod">
          <ac:chgData name="Ryan Littlemore" userId="e455dac8-f9aa-4cf6-ad37-fb5765c604eb" providerId="ADAL" clId="{A195CF85-C91C-4401-918C-4FBAD4D07645}" dt="2020-01-30T16:11:41.471" v="148"/>
          <ac:spMkLst>
            <pc:docMk/>
            <pc:sldMk cId="670043725" sldId="556"/>
            <ac:spMk id="10" creationId="{1B800DE3-CF57-4603-8854-4529CC0A5DD9}"/>
          </ac:spMkLst>
        </pc:spChg>
        <pc:graphicFrameChg chg="add mod modGraphic">
          <ac:chgData name="Ryan Littlemore" userId="e455dac8-f9aa-4cf6-ad37-fb5765c604eb" providerId="ADAL" clId="{A195CF85-C91C-4401-918C-4FBAD4D07645}" dt="2020-01-30T17:52:19.756" v="350" actId="20577"/>
          <ac:graphicFrameMkLst>
            <pc:docMk/>
            <pc:sldMk cId="670043725" sldId="556"/>
            <ac:graphicFrameMk id="2" creationId="{A8326A8E-B529-4FF3-BBC6-FDC472DE49B8}"/>
          </ac:graphicFrameMkLst>
        </pc:graphicFrameChg>
      </pc:sldChg>
      <pc:sldChg chg="delSp modSp add mod">
        <pc:chgData name="Ryan Littlemore" userId="e455dac8-f9aa-4cf6-ad37-fb5765c604eb" providerId="ADAL" clId="{A195CF85-C91C-4401-918C-4FBAD4D07645}" dt="2020-01-30T17:48:07.110" v="326" actId="20577"/>
        <pc:sldMkLst>
          <pc:docMk/>
          <pc:sldMk cId="2711889897" sldId="557"/>
        </pc:sldMkLst>
        <pc:spChg chg="mod">
          <ac:chgData name="Ryan Littlemore" userId="e455dac8-f9aa-4cf6-ad37-fb5765c604eb" providerId="ADAL" clId="{A195CF85-C91C-4401-918C-4FBAD4D07645}" dt="2020-01-30T17:47:10.654" v="206" actId="1076"/>
          <ac:spMkLst>
            <pc:docMk/>
            <pc:sldMk cId="2711889897" sldId="557"/>
            <ac:spMk id="8" creationId="{022A2DF9-416C-4715-A4CE-B77A82E740E9}"/>
          </ac:spMkLst>
        </pc:spChg>
        <pc:spChg chg="mod">
          <ac:chgData name="Ryan Littlemore" userId="e455dac8-f9aa-4cf6-ad37-fb5765c604eb" providerId="ADAL" clId="{A195CF85-C91C-4401-918C-4FBAD4D07645}" dt="2020-01-30T17:47:19.395" v="227" actId="20577"/>
          <ac:spMkLst>
            <pc:docMk/>
            <pc:sldMk cId="2711889897" sldId="557"/>
            <ac:spMk id="9" creationId="{2448901E-48B7-4417-BBB0-4E51F689A76D}"/>
          </ac:spMkLst>
        </pc:spChg>
        <pc:spChg chg="mod">
          <ac:chgData name="Ryan Littlemore" userId="e455dac8-f9aa-4cf6-ad37-fb5765c604eb" providerId="ADAL" clId="{A195CF85-C91C-4401-918C-4FBAD4D07645}" dt="2020-01-30T17:48:07.110" v="326" actId="20577"/>
          <ac:spMkLst>
            <pc:docMk/>
            <pc:sldMk cId="2711889897" sldId="557"/>
            <ac:spMk id="10" creationId="{1B800DE3-CF57-4603-8854-4529CC0A5DD9}"/>
          </ac:spMkLst>
        </pc:spChg>
        <pc:picChg chg="del">
          <ac:chgData name="Ryan Littlemore" userId="e455dac8-f9aa-4cf6-ad37-fb5765c604eb" providerId="ADAL" clId="{A195CF85-C91C-4401-918C-4FBAD4D07645}" dt="2020-01-30T17:47:40.911" v="279" actId="478"/>
          <ac:picMkLst>
            <pc:docMk/>
            <pc:sldMk cId="2711889897" sldId="557"/>
            <ac:picMk id="2050" creationId="{2AA7FD6F-7FD0-4C1A-ADB1-CAC88EAB03A2}"/>
          </ac:picMkLst>
        </pc:picChg>
      </pc:sldChg>
      <pc:sldChg chg="ord">
        <pc:chgData name="Ryan Littlemore" userId="e455dac8-f9aa-4cf6-ad37-fb5765c604eb" providerId="ADAL" clId="{A195CF85-C91C-4401-918C-4FBAD4D07645}" dt="2020-01-30T17:51:35.088" v="330"/>
        <pc:sldMkLst>
          <pc:docMk/>
          <pc:sldMk cId="2838649554" sldId="2058"/>
        </pc:sldMkLst>
      </pc:sldChg>
    </pc:docChg>
  </pc:docChgLst>
  <pc:docChgLst>
    <pc:chgData name="Ryan Littlemore" userId="e455dac8-f9aa-4cf6-ad37-fb5765c604eb" providerId="ADAL" clId="{C95E67CA-9B87-4694-AD1A-105B653F1750}"/>
    <pc:docChg chg="undo custSel modSld">
      <pc:chgData name="Ryan Littlemore" userId="e455dac8-f9aa-4cf6-ad37-fb5765c604eb" providerId="ADAL" clId="{C95E67CA-9B87-4694-AD1A-105B653F1750}" dt="2019-09-24T13:05:58.272" v="629" actId="20577"/>
      <pc:docMkLst>
        <pc:docMk/>
      </pc:docMkLst>
      <pc:sldChg chg="modSp">
        <pc:chgData name="Ryan Littlemore" userId="e455dac8-f9aa-4cf6-ad37-fb5765c604eb" providerId="ADAL" clId="{C95E67CA-9B87-4694-AD1A-105B653F1750}" dt="2019-09-24T11:39:18.454" v="11" actId="1076"/>
        <pc:sldMkLst>
          <pc:docMk/>
          <pc:sldMk cId="1620967048" sldId="539"/>
        </pc:sldMkLst>
        <pc:spChg chg="mod">
          <ac:chgData name="Ryan Littlemore" userId="e455dac8-f9aa-4cf6-ad37-fb5765c604eb" providerId="ADAL" clId="{C95E67CA-9B87-4694-AD1A-105B653F1750}" dt="2019-09-24T11:39:18.454" v="11" actId="1076"/>
          <ac:spMkLst>
            <pc:docMk/>
            <pc:sldMk cId="1620967048" sldId="539"/>
            <ac:spMk id="7" creationId="{3041B32A-7E40-4D4B-ACE4-D8C665F8B323}"/>
          </ac:spMkLst>
        </pc:spChg>
      </pc:sldChg>
      <pc:sldChg chg="addSp delSp modSp">
        <pc:chgData name="Ryan Littlemore" userId="e455dac8-f9aa-4cf6-ad37-fb5765c604eb" providerId="ADAL" clId="{C95E67CA-9B87-4694-AD1A-105B653F1750}" dt="2019-09-24T11:41:01.389" v="139" actId="20577"/>
        <pc:sldMkLst>
          <pc:docMk/>
          <pc:sldMk cId="3679143134" sldId="541"/>
        </pc:sldMkLst>
        <pc:spChg chg="mod">
          <ac:chgData name="Ryan Littlemore" userId="e455dac8-f9aa-4cf6-ad37-fb5765c604eb" providerId="ADAL" clId="{C95E67CA-9B87-4694-AD1A-105B653F1750}" dt="2019-09-24T11:41:01.389" v="139" actId="20577"/>
          <ac:spMkLst>
            <pc:docMk/>
            <pc:sldMk cId="3679143134" sldId="541"/>
            <ac:spMk id="10" creationId="{1B800DE3-CF57-4603-8854-4529CC0A5DD9}"/>
          </ac:spMkLst>
        </pc:spChg>
        <pc:graphicFrameChg chg="add del mod">
          <ac:chgData name="Ryan Littlemore" userId="e455dac8-f9aa-4cf6-ad37-fb5765c604eb" providerId="ADAL" clId="{C95E67CA-9B87-4694-AD1A-105B653F1750}" dt="2019-09-24T11:40:11.194" v="18"/>
          <ac:graphicFrameMkLst>
            <pc:docMk/>
            <pc:sldMk cId="3679143134" sldId="541"/>
            <ac:graphicFrameMk id="2" creationId="{4F767C7D-0CDA-444F-A243-577E4AF8841A}"/>
          </ac:graphicFrameMkLst>
        </pc:graphicFrameChg>
      </pc:sldChg>
      <pc:sldChg chg="modSp">
        <pc:chgData name="Ryan Littlemore" userId="e455dac8-f9aa-4cf6-ad37-fb5765c604eb" providerId="ADAL" clId="{C95E67CA-9B87-4694-AD1A-105B653F1750}" dt="2019-09-24T11:42:21.246" v="245" actId="20577"/>
        <pc:sldMkLst>
          <pc:docMk/>
          <pc:sldMk cId="3420653574" sldId="542"/>
        </pc:sldMkLst>
        <pc:spChg chg="mod">
          <ac:chgData name="Ryan Littlemore" userId="e455dac8-f9aa-4cf6-ad37-fb5765c604eb" providerId="ADAL" clId="{C95E67CA-9B87-4694-AD1A-105B653F1750}" dt="2019-09-24T11:42:21.246" v="245" actId="20577"/>
          <ac:spMkLst>
            <pc:docMk/>
            <pc:sldMk cId="3420653574" sldId="542"/>
            <ac:spMk id="2" creationId="{39233361-26D1-4118-99CB-A5545E724B8F}"/>
          </ac:spMkLst>
        </pc:spChg>
      </pc:sldChg>
      <pc:sldChg chg="modSp">
        <pc:chgData name="Ryan Littlemore" userId="e455dac8-f9aa-4cf6-ad37-fb5765c604eb" providerId="ADAL" clId="{C95E67CA-9B87-4694-AD1A-105B653F1750}" dt="2019-09-24T11:42:08.403" v="214" actId="20577"/>
        <pc:sldMkLst>
          <pc:docMk/>
          <pc:sldMk cId="2714039227" sldId="543"/>
        </pc:sldMkLst>
        <pc:spChg chg="mod">
          <ac:chgData name="Ryan Littlemore" userId="e455dac8-f9aa-4cf6-ad37-fb5765c604eb" providerId="ADAL" clId="{C95E67CA-9B87-4694-AD1A-105B653F1750}" dt="2019-09-24T11:42:08.403" v="214" actId="20577"/>
          <ac:spMkLst>
            <pc:docMk/>
            <pc:sldMk cId="2714039227" sldId="543"/>
            <ac:spMk id="2" creationId="{39233361-26D1-4118-99CB-A5545E724B8F}"/>
          </ac:spMkLst>
        </pc:spChg>
      </pc:sldChg>
      <pc:sldChg chg="modSp modAnim">
        <pc:chgData name="Ryan Littlemore" userId="e455dac8-f9aa-4cf6-ad37-fb5765c604eb" providerId="ADAL" clId="{C95E67CA-9B87-4694-AD1A-105B653F1750}" dt="2019-09-24T13:05:58.272" v="629" actId="20577"/>
        <pc:sldMkLst>
          <pc:docMk/>
          <pc:sldMk cId="1115611432" sldId="545"/>
        </pc:sldMkLst>
        <pc:spChg chg="mod">
          <ac:chgData name="Ryan Littlemore" userId="e455dac8-f9aa-4cf6-ad37-fb5765c604eb" providerId="ADAL" clId="{C95E67CA-9B87-4694-AD1A-105B653F1750}" dt="2019-09-24T11:41:42.229" v="156" actId="20577"/>
          <ac:spMkLst>
            <pc:docMk/>
            <pc:sldMk cId="1115611432" sldId="545"/>
            <ac:spMk id="9" creationId="{2448901E-48B7-4417-BBB0-4E51F689A76D}"/>
          </ac:spMkLst>
        </pc:spChg>
        <pc:spChg chg="mod">
          <ac:chgData name="Ryan Littlemore" userId="e455dac8-f9aa-4cf6-ad37-fb5765c604eb" providerId="ADAL" clId="{C95E67CA-9B87-4694-AD1A-105B653F1750}" dt="2019-09-24T13:05:58.272" v="629" actId="20577"/>
          <ac:spMkLst>
            <pc:docMk/>
            <pc:sldMk cId="1115611432" sldId="545"/>
            <ac:spMk id="10" creationId="{1B800DE3-CF57-4603-8854-4529CC0A5DD9}"/>
          </ac:spMkLst>
        </pc:spChg>
      </pc:sldChg>
      <pc:sldChg chg="delSp modSp">
        <pc:chgData name="Ryan Littlemore" userId="e455dac8-f9aa-4cf6-ad37-fb5765c604eb" providerId="ADAL" clId="{C95E67CA-9B87-4694-AD1A-105B653F1750}" dt="2019-09-24T11:42:50.485" v="259" actId="1076"/>
        <pc:sldMkLst>
          <pc:docMk/>
          <pc:sldMk cId="2965548729" sldId="546"/>
        </pc:sldMkLst>
        <pc:spChg chg="mod">
          <ac:chgData name="Ryan Littlemore" userId="e455dac8-f9aa-4cf6-ad37-fb5765c604eb" providerId="ADAL" clId="{C95E67CA-9B87-4694-AD1A-105B653F1750}" dt="2019-09-24T11:42:50.485" v="259" actId="1076"/>
          <ac:spMkLst>
            <pc:docMk/>
            <pc:sldMk cId="2965548729" sldId="546"/>
            <ac:spMk id="10" creationId="{1B800DE3-CF57-4603-8854-4529CC0A5DD9}"/>
          </ac:spMkLst>
        </pc:spChg>
        <pc:picChg chg="del">
          <ac:chgData name="Ryan Littlemore" userId="e455dac8-f9aa-4cf6-ad37-fb5765c604eb" providerId="ADAL" clId="{C95E67CA-9B87-4694-AD1A-105B653F1750}" dt="2019-09-24T11:42:33.746" v="247" actId="478"/>
          <ac:picMkLst>
            <pc:docMk/>
            <pc:sldMk cId="2965548729" sldId="546"/>
            <ac:picMk id="2" creationId="{E2EC593B-08E5-44DF-B504-73056F9A7918}"/>
          </ac:picMkLst>
        </pc:picChg>
      </pc:sldChg>
    </pc:docChg>
  </pc:docChgLst>
  <pc:docChgLst>
    <pc:chgData name="Jack Tracey" userId="98dee47e-7932-4ede-ad91-867e883fbe46" providerId="ADAL" clId="{7CD514B4-80B9-43FD-ACD1-EAD4885EA8BD}"/>
    <pc:docChg chg="undo custSel addSld delSld modSld modSection">
      <pc:chgData name="Jack Tracey" userId="98dee47e-7932-4ede-ad91-867e883fbe46" providerId="ADAL" clId="{7CD514B4-80B9-43FD-ACD1-EAD4885EA8BD}" dt="2019-06-20T17:05:47.971" v="466" actId="1076"/>
      <pc:docMkLst>
        <pc:docMk/>
      </pc:docMkLst>
      <pc:sldChg chg="addSp modSp modAnim">
        <pc:chgData name="Jack Tracey" userId="98dee47e-7932-4ede-ad91-867e883fbe46" providerId="ADAL" clId="{7CD514B4-80B9-43FD-ACD1-EAD4885EA8BD}" dt="2019-06-20T17:00:49.180" v="461" actId="20577"/>
        <pc:sldMkLst>
          <pc:docMk/>
          <pc:sldMk cId="440760351" sldId="258"/>
        </pc:sldMkLst>
        <pc:spChg chg="mod">
          <ac:chgData name="Jack Tracey" userId="98dee47e-7932-4ede-ad91-867e883fbe46" providerId="ADAL" clId="{7CD514B4-80B9-43FD-ACD1-EAD4885EA8BD}" dt="2019-06-20T17:00:49.180" v="461" actId="20577"/>
          <ac:spMkLst>
            <pc:docMk/>
            <pc:sldMk cId="440760351" sldId="258"/>
            <ac:spMk id="2" creationId="{39233361-26D1-4118-99CB-A5545E724B8F}"/>
          </ac:spMkLst>
        </pc:spChg>
        <pc:spChg chg="add mod">
          <ac:chgData name="Jack Tracey" userId="98dee47e-7932-4ede-ad91-867e883fbe46" providerId="ADAL" clId="{7CD514B4-80B9-43FD-ACD1-EAD4885EA8BD}" dt="2019-06-14T16:20:03.313" v="251" actId="14100"/>
          <ac:spMkLst>
            <pc:docMk/>
            <pc:sldMk cId="440760351" sldId="258"/>
            <ac:spMk id="3" creationId="{CCCB6560-5F66-4500-B58F-65390622B6F0}"/>
          </ac:spMkLst>
        </pc:spChg>
        <pc:spChg chg="add mod">
          <ac:chgData name="Jack Tracey" userId="98dee47e-7932-4ede-ad91-867e883fbe46" providerId="ADAL" clId="{7CD514B4-80B9-43FD-ACD1-EAD4885EA8BD}" dt="2019-06-14T16:19:57.775" v="250" actId="5793"/>
          <ac:spMkLst>
            <pc:docMk/>
            <pc:sldMk cId="440760351" sldId="258"/>
            <ac:spMk id="4" creationId="{017BE8DB-1EDD-45C2-A84D-43CDADE73556}"/>
          </ac:spMkLst>
        </pc:spChg>
        <pc:picChg chg="add">
          <ac:chgData name="Jack Tracey" userId="98dee47e-7932-4ede-ad91-867e883fbe46" providerId="ADAL" clId="{7CD514B4-80B9-43FD-ACD1-EAD4885EA8BD}" dt="2019-06-20T16:44:03.378" v="378"/>
          <ac:picMkLst>
            <pc:docMk/>
            <pc:sldMk cId="440760351" sldId="258"/>
            <ac:picMk id="5" creationId="{84414444-8CFB-4D06-BE15-EBEB724DC735}"/>
          </ac:picMkLst>
        </pc:picChg>
      </pc:sldChg>
      <pc:sldChg chg="addSp delSp modSp modAnim">
        <pc:chgData name="Jack Tracey" userId="98dee47e-7932-4ede-ad91-867e883fbe46" providerId="ADAL" clId="{7CD514B4-80B9-43FD-ACD1-EAD4885EA8BD}" dt="2019-06-20T16:49:40.914" v="389"/>
        <pc:sldMkLst>
          <pc:docMk/>
          <pc:sldMk cId="1826063434" sldId="260"/>
        </pc:sldMkLst>
        <pc:spChg chg="del">
          <ac:chgData name="Jack Tracey" userId="98dee47e-7932-4ede-ad91-867e883fbe46" providerId="ADAL" clId="{7CD514B4-80B9-43FD-ACD1-EAD4885EA8BD}" dt="2019-06-14T16:18:37.848" v="161" actId="478"/>
          <ac:spMkLst>
            <pc:docMk/>
            <pc:sldMk cId="1826063434" sldId="260"/>
            <ac:spMk id="2" creationId="{926DE37D-17FE-43F3-940F-96405A7CC497}"/>
          </ac:spMkLst>
        </pc:spChg>
        <pc:spChg chg="mod">
          <ac:chgData name="Jack Tracey" userId="98dee47e-7932-4ede-ad91-867e883fbe46" providerId="ADAL" clId="{7CD514B4-80B9-43FD-ACD1-EAD4885EA8BD}" dt="2019-06-20T15:21:06.712" v="265" actId="27636"/>
          <ac:spMkLst>
            <pc:docMk/>
            <pc:sldMk cId="1826063434" sldId="260"/>
            <ac:spMk id="3" creationId="{FB77A8A2-BD64-4C21-977E-EAC2AC092B8D}"/>
          </ac:spMkLst>
        </pc:spChg>
        <pc:spChg chg="add mod">
          <ac:chgData name="Jack Tracey" userId="98dee47e-7932-4ede-ad91-867e883fbe46" providerId="ADAL" clId="{7CD514B4-80B9-43FD-ACD1-EAD4885EA8BD}" dt="2019-06-14T16:18:59.831" v="194" actId="14100"/>
          <ac:spMkLst>
            <pc:docMk/>
            <pc:sldMk cId="1826063434" sldId="260"/>
            <ac:spMk id="4" creationId="{EAE83CC7-5950-474D-9ACB-D713EE73744F}"/>
          </ac:spMkLst>
        </pc:spChg>
        <pc:spChg chg="add mod">
          <ac:chgData name="Jack Tracey" userId="98dee47e-7932-4ede-ad91-867e883fbe46" providerId="ADAL" clId="{7CD514B4-80B9-43FD-ACD1-EAD4885EA8BD}" dt="2019-06-14T16:18:55.143" v="193" actId="20577"/>
          <ac:spMkLst>
            <pc:docMk/>
            <pc:sldMk cId="1826063434" sldId="260"/>
            <ac:spMk id="5" creationId="{035C9791-F7C8-44E3-8F88-9AA835001B34}"/>
          </ac:spMkLst>
        </pc:spChg>
        <pc:spChg chg="add del mod">
          <ac:chgData name="Jack Tracey" userId="98dee47e-7932-4ede-ad91-867e883fbe46" providerId="ADAL" clId="{7CD514B4-80B9-43FD-ACD1-EAD4885EA8BD}" dt="2019-06-14T16:18:39.899" v="163" actId="478"/>
          <ac:spMkLst>
            <pc:docMk/>
            <pc:sldMk cId="1826063434" sldId="260"/>
            <ac:spMk id="7" creationId="{18070D77-0992-4ECA-A1DA-368F3EC3D214}"/>
          </ac:spMkLst>
        </pc:spChg>
        <pc:picChg chg="add">
          <ac:chgData name="Jack Tracey" userId="98dee47e-7932-4ede-ad91-867e883fbe46" providerId="ADAL" clId="{7CD514B4-80B9-43FD-ACD1-EAD4885EA8BD}" dt="2019-06-20T16:43:56.462" v="374"/>
          <ac:picMkLst>
            <pc:docMk/>
            <pc:sldMk cId="1826063434" sldId="260"/>
            <ac:picMk id="6" creationId="{79DDFB84-2623-43F8-8C2E-14E9E0E10BF2}"/>
          </ac:picMkLst>
        </pc:picChg>
      </pc:sldChg>
      <pc:sldChg chg="addSp delSp modSp setBg">
        <pc:chgData name="Jack Tracey" userId="98dee47e-7932-4ede-ad91-867e883fbe46" providerId="ADAL" clId="{7CD514B4-80B9-43FD-ACD1-EAD4885EA8BD}" dt="2019-06-20T16:56:12.126" v="432" actId="1076"/>
        <pc:sldMkLst>
          <pc:docMk/>
          <pc:sldMk cId="2323985547" sldId="507"/>
        </pc:sldMkLst>
        <pc:spChg chg="del">
          <ac:chgData name="Jack Tracey" userId="98dee47e-7932-4ede-ad91-867e883fbe46" providerId="ADAL" clId="{7CD514B4-80B9-43FD-ACD1-EAD4885EA8BD}" dt="2019-06-14T16:07:42.063" v="58" actId="478"/>
          <ac:spMkLst>
            <pc:docMk/>
            <pc:sldMk cId="2323985547" sldId="507"/>
            <ac:spMk id="8" creationId="{74A33EC3-FBD0-D543-A425-400839C82DB1}"/>
          </ac:spMkLst>
        </pc:spChg>
        <pc:spChg chg="mod topLvl">
          <ac:chgData name="Jack Tracey" userId="98dee47e-7932-4ede-ad91-867e883fbe46" providerId="ADAL" clId="{7CD514B4-80B9-43FD-ACD1-EAD4885EA8BD}" dt="2019-06-14T16:08:12.911" v="60" actId="165"/>
          <ac:spMkLst>
            <pc:docMk/>
            <pc:sldMk cId="2323985547" sldId="507"/>
            <ac:spMk id="15" creationId="{22A5AB88-84E0-CE4C-9899-9AB4655E2228}"/>
          </ac:spMkLst>
        </pc:spChg>
        <pc:spChg chg="mod topLvl">
          <ac:chgData name="Jack Tracey" userId="98dee47e-7932-4ede-ad91-867e883fbe46" providerId="ADAL" clId="{7CD514B4-80B9-43FD-ACD1-EAD4885EA8BD}" dt="2019-06-20T15:43:04.970" v="269" actId="164"/>
          <ac:spMkLst>
            <pc:docMk/>
            <pc:sldMk cId="2323985547" sldId="507"/>
            <ac:spMk id="27" creationId="{387BF5CA-3D16-41FF-B240-5C9553E95FE0}"/>
          </ac:spMkLst>
        </pc:spChg>
        <pc:spChg chg="add mod">
          <ac:chgData name="Jack Tracey" userId="98dee47e-7932-4ede-ad91-867e883fbe46" providerId="ADAL" clId="{7CD514B4-80B9-43FD-ACD1-EAD4885EA8BD}" dt="2019-06-20T15:43:14.962" v="271" actId="164"/>
          <ac:spMkLst>
            <pc:docMk/>
            <pc:sldMk cId="2323985547" sldId="507"/>
            <ac:spMk id="28" creationId="{292067ED-B08A-4521-99A4-875226D05920}"/>
          </ac:spMkLst>
        </pc:spChg>
        <pc:spChg chg="mod topLvl">
          <ac:chgData name="Jack Tracey" userId="98dee47e-7932-4ede-ad91-867e883fbe46" providerId="ADAL" clId="{7CD514B4-80B9-43FD-ACD1-EAD4885EA8BD}" dt="2019-06-20T15:43:04.970" v="269" actId="164"/>
          <ac:spMkLst>
            <pc:docMk/>
            <pc:sldMk cId="2323985547" sldId="507"/>
            <ac:spMk id="29" creationId="{41C5121F-B9BA-46B1-B888-E0C821190BB2}"/>
          </ac:spMkLst>
        </pc:spChg>
        <pc:spChg chg="add mod">
          <ac:chgData name="Jack Tracey" userId="98dee47e-7932-4ede-ad91-867e883fbe46" providerId="ADAL" clId="{7CD514B4-80B9-43FD-ACD1-EAD4885EA8BD}" dt="2019-06-20T16:56:12.126" v="432" actId="1076"/>
          <ac:spMkLst>
            <pc:docMk/>
            <pc:sldMk cId="2323985547" sldId="507"/>
            <ac:spMk id="31" creationId="{89E4F5E5-661B-4968-86C4-527F2600534E}"/>
          </ac:spMkLst>
        </pc:spChg>
        <pc:grpChg chg="add mod">
          <ac:chgData name="Jack Tracey" userId="98dee47e-7932-4ede-ad91-867e883fbe46" providerId="ADAL" clId="{7CD514B4-80B9-43FD-ACD1-EAD4885EA8BD}" dt="2019-06-20T16:40:23.720" v="275" actId="1076"/>
          <ac:grpSpMkLst>
            <pc:docMk/>
            <pc:sldMk cId="2323985547" sldId="507"/>
            <ac:grpSpMk id="2" creationId="{809344A3-9BC0-444F-ABAF-679AA2C2D45C}"/>
          </ac:grpSpMkLst>
        </pc:grpChg>
        <pc:grpChg chg="del">
          <ac:chgData name="Jack Tracey" userId="98dee47e-7932-4ede-ad91-867e883fbe46" providerId="ADAL" clId="{7CD514B4-80B9-43FD-ACD1-EAD4885EA8BD}" dt="2019-06-14T16:08:12.911" v="60" actId="165"/>
          <ac:grpSpMkLst>
            <pc:docMk/>
            <pc:sldMk cId="2323985547" sldId="507"/>
            <ac:grpSpMk id="2" creationId="{BB0D6F68-9AAA-4120-BED2-C91097AEBCB6}"/>
          </ac:grpSpMkLst>
        </pc:grpChg>
        <pc:grpChg chg="add del mod">
          <ac:chgData name="Jack Tracey" userId="98dee47e-7932-4ede-ad91-867e883fbe46" providerId="ADAL" clId="{7CD514B4-80B9-43FD-ACD1-EAD4885EA8BD}" dt="2019-06-14T16:10:08.928" v="73" actId="165"/>
          <ac:grpSpMkLst>
            <pc:docMk/>
            <pc:sldMk cId="2323985547" sldId="507"/>
            <ac:grpSpMk id="3" creationId="{87423625-ABE7-45F1-BE52-DC0116EC0A97}"/>
          </ac:grpSpMkLst>
        </pc:grpChg>
        <pc:grpChg chg="add mod">
          <ac:chgData name="Jack Tracey" userId="98dee47e-7932-4ede-ad91-867e883fbe46" providerId="ADAL" clId="{7CD514B4-80B9-43FD-ACD1-EAD4885EA8BD}" dt="2019-06-20T15:43:23.923" v="272" actId="1076"/>
          <ac:grpSpMkLst>
            <pc:docMk/>
            <pc:sldMk cId="2323985547" sldId="507"/>
            <ac:grpSpMk id="3" creationId="{8E0DCF0F-8C3E-4DB7-8092-6330D23D238F}"/>
          </ac:grpSpMkLst>
        </pc:grpChg>
        <pc:grpChg chg="mod topLvl">
          <ac:chgData name="Jack Tracey" userId="98dee47e-7932-4ede-ad91-867e883fbe46" providerId="ADAL" clId="{7CD514B4-80B9-43FD-ACD1-EAD4885EA8BD}" dt="2019-06-20T15:43:14.962" v="271" actId="164"/>
          <ac:grpSpMkLst>
            <pc:docMk/>
            <pc:sldMk cId="2323985547" sldId="507"/>
            <ac:grpSpMk id="10" creationId="{1872A94A-4C8D-4997-988F-CF03E8265A68}"/>
          </ac:grpSpMkLst>
        </pc:grpChg>
        <pc:grpChg chg="mod topLvl">
          <ac:chgData name="Jack Tracey" userId="98dee47e-7932-4ede-ad91-867e883fbe46" providerId="ADAL" clId="{7CD514B4-80B9-43FD-ACD1-EAD4885EA8BD}" dt="2019-06-20T16:40:16.841" v="274" actId="1076"/>
          <ac:grpSpMkLst>
            <pc:docMk/>
            <pc:sldMk cId="2323985547" sldId="507"/>
            <ac:grpSpMk id="20" creationId="{5FA0A4EB-CAA7-4108-AADB-7E57C98043BC}"/>
          </ac:grpSpMkLst>
        </pc:grpChg>
        <pc:picChg chg="del mod topLvl">
          <ac:chgData name="Jack Tracey" userId="98dee47e-7932-4ede-ad91-867e883fbe46" providerId="ADAL" clId="{7CD514B4-80B9-43FD-ACD1-EAD4885EA8BD}" dt="2019-06-14T16:10:11.305" v="74" actId="478"/>
          <ac:picMkLst>
            <pc:docMk/>
            <pc:sldMk cId="2323985547" sldId="507"/>
            <ac:picMk id="5" creationId="{BF20B1D4-226B-4FAC-AF11-00BC52AA1A21}"/>
          </ac:picMkLst>
        </pc:picChg>
        <pc:picChg chg="add mod">
          <ac:chgData name="Jack Tracey" userId="98dee47e-7932-4ede-ad91-867e883fbe46" providerId="ADAL" clId="{7CD514B4-80B9-43FD-ACD1-EAD4885EA8BD}" dt="2019-06-20T15:43:14.962" v="271" actId="164"/>
          <ac:picMkLst>
            <pc:docMk/>
            <pc:sldMk cId="2323985547" sldId="507"/>
            <ac:picMk id="6" creationId="{3FCE3B26-3DC6-4836-A0FA-E5B5AD5F4DB4}"/>
          </ac:picMkLst>
        </pc:picChg>
        <pc:picChg chg="mod topLvl">
          <ac:chgData name="Jack Tracey" userId="98dee47e-7932-4ede-ad91-867e883fbe46" providerId="ADAL" clId="{7CD514B4-80B9-43FD-ACD1-EAD4885EA8BD}" dt="2019-06-20T15:43:04.970" v="269" actId="164"/>
          <ac:picMkLst>
            <pc:docMk/>
            <pc:sldMk cId="2323985547" sldId="507"/>
            <ac:picMk id="30" creationId="{C802871A-E452-4312-9B1D-B7ABFCCE78B2}"/>
          </ac:picMkLst>
        </pc:picChg>
        <pc:picChg chg="add del mod">
          <ac:chgData name="Jack Tracey" userId="98dee47e-7932-4ede-ad91-867e883fbe46" providerId="ADAL" clId="{7CD514B4-80B9-43FD-ACD1-EAD4885EA8BD}" dt="2019-06-14T16:10:06.103" v="72" actId="478"/>
          <ac:picMkLst>
            <pc:docMk/>
            <pc:sldMk cId="2323985547" sldId="507"/>
            <ac:picMk id="31" creationId="{D1852258-A433-4DDC-99ED-5982FA7752D5}"/>
          </ac:picMkLst>
        </pc:picChg>
        <pc:picChg chg="add mod">
          <ac:chgData name="Jack Tracey" userId="98dee47e-7932-4ede-ad91-867e883fbe46" providerId="ADAL" clId="{7CD514B4-80B9-43FD-ACD1-EAD4885EA8BD}" dt="2019-06-20T15:43:04.970" v="269" actId="164"/>
          <ac:picMkLst>
            <pc:docMk/>
            <pc:sldMk cId="2323985547" sldId="507"/>
            <ac:picMk id="32" creationId="{5FF744D3-5038-4D5E-8116-F20056A4EE96}"/>
          </ac:picMkLst>
        </pc:picChg>
        <pc:picChg chg="add">
          <ac:chgData name="Jack Tracey" userId="98dee47e-7932-4ede-ad91-867e883fbe46" providerId="ADAL" clId="{7CD514B4-80B9-43FD-ACD1-EAD4885EA8BD}" dt="2019-06-20T16:44:08.234" v="382"/>
          <ac:picMkLst>
            <pc:docMk/>
            <pc:sldMk cId="2323985547" sldId="507"/>
            <ac:picMk id="33" creationId="{660C38E6-F9F9-478B-A6DF-3122A8989F28}"/>
          </ac:picMkLst>
        </pc:picChg>
      </pc:sldChg>
      <pc:sldChg chg="modSp">
        <pc:chgData name="Jack Tracey" userId="98dee47e-7932-4ede-ad91-867e883fbe46" providerId="ADAL" clId="{7CD514B4-80B9-43FD-ACD1-EAD4885EA8BD}" dt="2019-06-20T17:05:47.971" v="466" actId="1076"/>
        <pc:sldMkLst>
          <pc:docMk/>
          <pc:sldMk cId="1620967048" sldId="539"/>
        </pc:sldMkLst>
        <pc:spChg chg="mod">
          <ac:chgData name="Jack Tracey" userId="98dee47e-7932-4ede-ad91-867e883fbe46" providerId="ADAL" clId="{7CD514B4-80B9-43FD-ACD1-EAD4885EA8BD}" dt="2019-06-20T17:05:47.971" v="466" actId="1076"/>
          <ac:spMkLst>
            <pc:docMk/>
            <pc:sldMk cId="1620967048" sldId="539"/>
            <ac:spMk id="7" creationId="{3041B32A-7E40-4D4B-ACE4-D8C665F8B323}"/>
          </ac:spMkLst>
        </pc:spChg>
        <pc:spChg chg="mod">
          <ac:chgData name="Jack Tracey" userId="98dee47e-7932-4ede-ad91-867e883fbe46" providerId="ADAL" clId="{7CD514B4-80B9-43FD-ACD1-EAD4885EA8BD}" dt="2019-06-20T17:05:32.198" v="462" actId="1076"/>
          <ac:spMkLst>
            <pc:docMk/>
            <pc:sldMk cId="1620967048" sldId="539"/>
            <ac:spMk id="10" creationId="{1B800DE3-CF57-4603-8854-4529CC0A5DD9}"/>
          </ac:spMkLst>
        </pc:spChg>
        <pc:picChg chg="mod">
          <ac:chgData name="Jack Tracey" userId="98dee47e-7932-4ede-ad91-867e883fbe46" providerId="ADAL" clId="{7CD514B4-80B9-43FD-ACD1-EAD4885EA8BD}" dt="2019-06-20T17:05:36.496" v="463" actId="1076"/>
          <ac:picMkLst>
            <pc:docMk/>
            <pc:sldMk cId="1620967048" sldId="539"/>
            <ac:picMk id="6" creationId="{24DB8550-FD26-444E-903A-972D78972EC1}"/>
          </ac:picMkLst>
        </pc:picChg>
      </pc:sldChg>
      <pc:sldChg chg="addSp delSp modSp modAnim">
        <pc:chgData name="Jack Tracey" userId="98dee47e-7932-4ede-ad91-867e883fbe46" providerId="ADAL" clId="{7CD514B4-80B9-43FD-ACD1-EAD4885EA8BD}" dt="2019-06-20T16:43:59.404" v="376"/>
        <pc:sldMkLst>
          <pc:docMk/>
          <pc:sldMk cId="3679143134" sldId="541"/>
        </pc:sldMkLst>
        <pc:spChg chg="mod">
          <ac:chgData name="Jack Tracey" userId="98dee47e-7932-4ede-ad91-867e883fbe46" providerId="ADAL" clId="{7CD514B4-80B9-43FD-ACD1-EAD4885EA8BD}" dt="2019-06-14T16:21:55.200" v="260" actId="114"/>
          <ac:spMkLst>
            <pc:docMk/>
            <pc:sldMk cId="3679143134" sldId="541"/>
            <ac:spMk id="10" creationId="{1B800DE3-CF57-4603-8854-4529CC0A5DD9}"/>
          </ac:spMkLst>
        </pc:spChg>
        <pc:picChg chg="add del">
          <ac:chgData name="Jack Tracey" userId="98dee47e-7932-4ede-ad91-867e883fbe46" providerId="ADAL" clId="{7CD514B4-80B9-43FD-ACD1-EAD4885EA8BD}" dt="2019-06-20T16:43:59.404" v="376"/>
          <ac:picMkLst>
            <pc:docMk/>
            <pc:sldMk cId="3679143134" sldId="541"/>
            <ac:picMk id="6" creationId="{27A56F7E-C8EC-4C78-A383-87E4EF789344}"/>
          </ac:picMkLst>
        </pc:picChg>
      </pc:sldChg>
      <pc:sldChg chg="addSp modSp modAnim">
        <pc:chgData name="Jack Tracey" userId="98dee47e-7932-4ede-ad91-867e883fbe46" providerId="ADAL" clId="{7CD514B4-80B9-43FD-ACD1-EAD4885EA8BD}" dt="2019-06-20T16:44:01.767" v="377"/>
        <pc:sldMkLst>
          <pc:docMk/>
          <pc:sldMk cId="3420653574" sldId="542"/>
        </pc:sldMkLst>
        <pc:spChg chg="add mod">
          <ac:chgData name="Jack Tracey" userId="98dee47e-7932-4ede-ad91-867e883fbe46" providerId="ADAL" clId="{7CD514B4-80B9-43FD-ACD1-EAD4885EA8BD}" dt="2019-06-14T16:17:11.500" v="141" actId="1076"/>
          <ac:spMkLst>
            <pc:docMk/>
            <pc:sldMk cId="3420653574" sldId="542"/>
            <ac:spMk id="3" creationId="{1485FE63-F237-4E3B-8AF5-CBFD3D932FE7}"/>
          </ac:spMkLst>
        </pc:spChg>
        <pc:picChg chg="add mod">
          <ac:chgData name="Jack Tracey" userId="98dee47e-7932-4ede-ad91-867e883fbe46" providerId="ADAL" clId="{7CD514B4-80B9-43FD-ACD1-EAD4885EA8BD}" dt="2019-06-14T16:16:16.205" v="125" actId="1076"/>
          <ac:picMkLst>
            <pc:docMk/>
            <pc:sldMk cId="3420653574" sldId="542"/>
            <ac:picMk id="4" creationId="{6FE0CD76-A715-41D4-B44A-84BE10916120}"/>
          </ac:picMkLst>
        </pc:picChg>
        <pc:picChg chg="add">
          <ac:chgData name="Jack Tracey" userId="98dee47e-7932-4ede-ad91-867e883fbe46" providerId="ADAL" clId="{7CD514B4-80B9-43FD-ACD1-EAD4885EA8BD}" dt="2019-06-20T16:44:01.767" v="377"/>
          <ac:picMkLst>
            <pc:docMk/>
            <pc:sldMk cId="3420653574" sldId="542"/>
            <ac:picMk id="5" creationId="{4E7F68CD-84A8-44C6-AF85-647088D8952A}"/>
          </ac:picMkLst>
        </pc:picChg>
      </pc:sldChg>
      <pc:sldChg chg="addSp modSp modAnim">
        <pc:chgData name="Jack Tracey" userId="98dee47e-7932-4ede-ad91-867e883fbe46" providerId="ADAL" clId="{7CD514B4-80B9-43FD-ACD1-EAD4885EA8BD}" dt="2019-06-20T16:44:04.703" v="379"/>
        <pc:sldMkLst>
          <pc:docMk/>
          <pc:sldMk cId="2714039227" sldId="543"/>
        </pc:sldMkLst>
        <pc:spChg chg="mod">
          <ac:chgData name="Jack Tracey" userId="98dee47e-7932-4ede-ad91-867e883fbe46" providerId="ADAL" clId="{7CD514B4-80B9-43FD-ACD1-EAD4885EA8BD}" dt="2019-06-14T16:14:42.781" v="110" actId="20577"/>
          <ac:spMkLst>
            <pc:docMk/>
            <pc:sldMk cId="2714039227" sldId="543"/>
            <ac:spMk id="2" creationId="{39233361-26D1-4118-99CB-A5545E724B8F}"/>
          </ac:spMkLst>
        </pc:spChg>
        <pc:spChg chg="add mod">
          <ac:chgData name="Jack Tracey" userId="98dee47e-7932-4ede-ad91-867e883fbe46" providerId="ADAL" clId="{7CD514B4-80B9-43FD-ACD1-EAD4885EA8BD}" dt="2019-06-14T16:17:37.544" v="159" actId="1076"/>
          <ac:spMkLst>
            <pc:docMk/>
            <pc:sldMk cId="2714039227" sldId="543"/>
            <ac:spMk id="3" creationId="{041DCC67-E849-45FB-8844-DCBEF3A2C5C9}"/>
          </ac:spMkLst>
        </pc:spChg>
        <pc:picChg chg="add">
          <ac:chgData name="Jack Tracey" userId="98dee47e-7932-4ede-ad91-867e883fbe46" providerId="ADAL" clId="{7CD514B4-80B9-43FD-ACD1-EAD4885EA8BD}" dt="2019-06-14T16:17:19.040" v="142"/>
          <ac:picMkLst>
            <pc:docMk/>
            <pc:sldMk cId="2714039227" sldId="543"/>
            <ac:picMk id="4" creationId="{A60A31E7-D038-4C95-83BD-FD785E0E4A9A}"/>
          </ac:picMkLst>
        </pc:picChg>
        <pc:picChg chg="add">
          <ac:chgData name="Jack Tracey" userId="98dee47e-7932-4ede-ad91-867e883fbe46" providerId="ADAL" clId="{7CD514B4-80B9-43FD-ACD1-EAD4885EA8BD}" dt="2019-06-20T16:44:04.703" v="379"/>
          <ac:picMkLst>
            <pc:docMk/>
            <pc:sldMk cId="2714039227" sldId="543"/>
            <ac:picMk id="5" creationId="{65351B6B-5325-4A75-8847-6343848BC0E0}"/>
          </ac:picMkLst>
        </pc:picChg>
      </pc:sldChg>
      <pc:sldChg chg="addSp delSp modSp">
        <pc:chgData name="Jack Tracey" userId="98dee47e-7932-4ede-ad91-867e883fbe46" providerId="ADAL" clId="{7CD514B4-80B9-43FD-ACD1-EAD4885EA8BD}" dt="2019-06-20T16:52:10.428" v="431" actId="20577"/>
        <pc:sldMkLst>
          <pc:docMk/>
          <pc:sldMk cId="2965548729" sldId="546"/>
        </pc:sldMkLst>
        <pc:spChg chg="mod">
          <ac:chgData name="Jack Tracey" userId="98dee47e-7932-4ede-ad91-867e883fbe46" providerId="ADAL" clId="{7CD514B4-80B9-43FD-ACD1-EAD4885EA8BD}" dt="2019-06-20T16:52:10.428" v="431" actId="20577"/>
          <ac:spMkLst>
            <pc:docMk/>
            <pc:sldMk cId="2965548729" sldId="546"/>
            <ac:spMk id="10" creationId="{1B800DE3-CF57-4603-8854-4529CC0A5DD9}"/>
          </ac:spMkLst>
        </pc:spChg>
        <pc:picChg chg="add del">
          <ac:chgData name="Jack Tracey" userId="98dee47e-7932-4ede-ad91-867e883fbe46" providerId="ADAL" clId="{7CD514B4-80B9-43FD-ACD1-EAD4885EA8BD}" dt="2019-06-20T16:44:06.850" v="381"/>
          <ac:picMkLst>
            <pc:docMk/>
            <pc:sldMk cId="2965548729" sldId="546"/>
            <ac:picMk id="6" creationId="{68124962-C0BD-46C7-B271-939FA391C093}"/>
          </ac:picMkLst>
        </pc:picChg>
      </pc:sldChg>
    </pc:docChg>
  </pc:docChgLst>
  <pc:docChgLst>
    <pc:chgData name="Jack Tracey" userId="98dee47e-7932-4ede-ad91-867e883fbe46" providerId="ADAL" clId="{77D45A51-78D9-45BE-9924-CBFAD5622C8B}"/>
    <pc:docChg chg="undo custSel addSld delSld modSld sldOrd delMainMaster">
      <pc:chgData name="Jack Tracey" userId="98dee47e-7932-4ede-ad91-867e883fbe46" providerId="ADAL" clId="{77D45A51-78D9-45BE-9924-CBFAD5622C8B}" dt="2020-04-08T18:56:16.239" v="1021" actId="1076"/>
      <pc:docMkLst>
        <pc:docMk/>
      </pc:docMkLst>
      <pc:sldChg chg="modTransition">
        <pc:chgData name="Jack Tracey" userId="98dee47e-7932-4ede-ad91-867e883fbe46" providerId="ADAL" clId="{77D45A51-78D9-45BE-9924-CBFAD5622C8B}" dt="2020-04-08T14:05:57.272" v="1015"/>
        <pc:sldMkLst>
          <pc:docMk/>
          <pc:sldMk cId="1826063434" sldId="260"/>
        </pc:sldMkLst>
      </pc:sldChg>
      <pc:sldChg chg="delSp modSp mod modTransition">
        <pc:chgData name="Jack Tracey" userId="98dee47e-7932-4ede-ad91-867e883fbe46" providerId="ADAL" clId="{77D45A51-78D9-45BE-9924-CBFAD5622C8B}" dt="2020-04-08T18:56:16.239" v="1021" actId="1076"/>
        <pc:sldMkLst>
          <pc:docMk/>
          <pc:sldMk cId="2323985547" sldId="507"/>
        </pc:sldMkLst>
        <pc:picChg chg="del">
          <ac:chgData name="Jack Tracey" userId="98dee47e-7932-4ede-ad91-867e883fbe46" providerId="ADAL" clId="{77D45A51-78D9-45BE-9924-CBFAD5622C8B}" dt="2020-04-08T18:56:05.893" v="1020" actId="478"/>
          <ac:picMkLst>
            <pc:docMk/>
            <pc:sldMk cId="2323985547" sldId="507"/>
            <ac:picMk id="5" creationId="{E109AAEB-E0B7-4A5A-8270-5F97DDE87AE6}"/>
          </ac:picMkLst>
        </pc:picChg>
        <pc:picChg chg="mod">
          <ac:chgData name="Jack Tracey" userId="98dee47e-7932-4ede-ad91-867e883fbe46" providerId="ADAL" clId="{77D45A51-78D9-45BE-9924-CBFAD5622C8B}" dt="2020-04-08T18:56:16.239" v="1021" actId="1076"/>
          <ac:picMkLst>
            <pc:docMk/>
            <pc:sldMk cId="2323985547" sldId="507"/>
            <ac:picMk id="8" creationId="{9C5DB219-88C6-4F98-96AE-DD5C84B29658}"/>
          </ac:picMkLst>
        </pc:picChg>
      </pc:sldChg>
      <pc:sldChg chg="modTransition">
        <pc:chgData name="Jack Tracey" userId="98dee47e-7932-4ede-ad91-867e883fbe46" providerId="ADAL" clId="{77D45A51-78D9-45BE-9924-CBFAD5622C8B}" dt="2020-04-08T14:05:57.272" v="1015"/>
        <pc:sldMkLst>
          <pc:docMk/>
          <pc:sldMk cId="1620967048" sldId="539"/>
        </pc:sldMkLst>
      </pc:sldChg>
      <pc:sldChg chg="modTransition">
        <pc:chgData name="Jack Tracey" userId="98dee47e-7932-4ede-ad91-867e883fbe46" providerId="ADAL" clId="{77D45A51-78D9-45BE-9924-CBFAD5622C8B}" dt="2020-04-08T14:05:57.272" v="1015"/>
        <pc:sldMkLst>
          <pc:docMk/>
          <pc:sldMk cId="3679143134" sldId="541"/>
        </pc:sldMkLst>
      </pc:sldChg>
      <pc:sldChg chg="modTransition">
        <pc:chgData name="Jack Tracey" userId="98dee47e-7932-4ede-ad91-867e883fbe46" providerId="ADAL" clId="{77D45A51-78D9-45BE-9924-CBFAD5622C8B}" dt="2020-04-08T14:05:57.272" v="1015"/>
        <pc:sldMkLst>
          <pc:docMk/>
          <pc:sldMk cId="2714039227" sldId="543"/>
        </pc:sldMkLst>
      </pc:sldChg>
      <pc:sldChg chg="modTransition">
        <pc:chgData name="Jack Tracey" userId="98dee47e-7932-4ede-ad91-867e883fbe46" providerId="ADAL" clId="{77D45A51-78D9-45BE-9924-CBFAD5622C8B}" dt="2020-04-08T14:05:57.272" v="1015"/>
        <pc:sldMkLst>
          <pc:docMk/>
          <pc:sldMk cId="533326867" sldId="544"/>
        </pc:sldMkLst>
      </pc:sldChg>
      <pc:sldChg chg="modTransition">
        <pc:chgData name="Jack Tracey" userId="98dee47e-7932-4ede-ad91-867e883fbe46" providerId="ADAL" clId="{77D45A51-78D9-45BE-9924-CBFAD5622C8B}" dt="2020-04-08T14:05:57.272" v="1015"/>
        <pc:sldMkLst>
          <pc:docMk/>
          <pc:sldMk cId="2711889897" sldId="557"/>
        </pc:sldMkLst>
      </pc:sldChg>
      <pc:sldChg chg="modSp mod modTransition modAnim">
        <pc:chgData name="Jack Tracey" userId="98dee47e-7932-4ede-ad91-867e883fbe46" providerId="ADAL" clId="{77D45A51-78D9-45BE-9924-CBFAD5622C8B}" dt="2020-04-08T14:07:40.614" v="1016" actId="1076"/>
        <pc:sldMkLst>
          <pc:docMk/>
          <pc:sldMk cId="3761172027" sldId="558"/>
        </pc:sldMkLst>
        <pc:spChg chg="mod">
          <ac:chgData name="Jack Tracey" userId="98dee47e-7932-4ede-ad91-867e883fbe46" providerId="ADAL" clId="{77D45A51-78D9-45BE-9924-CBFAD5622C8B}" dt="2020-04-08T14:07:40.614" v="1016" actId="1076"/>
          <ac:spMkLst>
            <pc:docMk/>
            <pc:sldMk cId="3761172027" sldId="558"/>
            <ac:spMk id="10" creationId="{1B800DE3-CF57-4603-8854-4529CC0A5DD9}"/>
          </ac:spMkLst>
        </pc:spChg>
      </pc:sldChg>
      <pc:sldChg chg="modSp mod modTransition modAnim">
        <pc:chgData name="Jack Tracey" userId="98dee47e-7932-4ede-ad91-867e883fbe46" providerId="ADAL" clId="{77D45A51-78D9-45BE-9924-CBFAD5622C8B}" dt="2020-04-08T14:07:46.596" v="1017" actId="1076"/>
        <pc:sldMkLst>
          <pc:docMk/>
          <pc:sldMk cId="3467035465" sldId="559"/>
        </pc:sldMkLst>
        <pc:spChg chg="mod">
          <ac:chgData name="Jack Tracey" userId="98dee47e-7932-4ede-ad91-867e883fbe46" providerId="ADAL" clId="{77D45A51-78D9-45BE-9924-CBFAD5622C8B}" dt="2020-04-08T14:07:46.596" v="1017" actId="1076"/>
          <ac:spMkLst>
            <pc:docMk/>
            <pc:sldMk cId="3467035465" sldId="559"/>
            <ac:spMk id="10" creationId="{1B800DE3-CF57-4603-8854-4529CC0A5DD9}"/>
          </ac:spMkLst>
        </pc:spChg>
      </pc:sldChg>
      <pc:sldChg chg="modSp mod modTransition modAnim">
        <pc:chgData name="Jack Tracey" userId="98dee47e-7932-4ede-ad91-867e883fbe46" providerId="ADAL" clId="{77D45A51-78D9-45BE-9924-CBFAD5622C8B}" dt="2020-04-08T14:05:57.272" v="1015"/>
        <pc:sldMkLst>
          <pc:docMk/>
          <pc:sldMk cId="2783307497" sldId="560"/>
        </pc:sldMkLst>
        <pc:spChg chg="mod">
          <ac:chgData name="Jack Tracey" userId="98dee47e-7932-4ede-ad91-867e883fbe46" providerId="ADAL" clId="{77D45A51-78D9-45BE-9924-CBFAD5622C8B}" dt="2020-04-08T08:24:36.451" v="894" actId="1076"/>
          <ac:spMkLst>
            <pc:docMk/>
            <pc:sldMk cId="2783307497" sldId="560"/>
            <ac:spMk id="10" creationId="{1B800DE3-CF57-4603-8854-4529CC0A5DD9}"/>
          </ac:spMkLst>
        </pc:spChg>
      </pc:sldChg>
      <pc:sldChg chg="modSp mod modTransition modAnim">
        <pc:chgData name="Jack Tracey" userId="98dee47e-7932-4ede-ad91-867e883fbe46" providerId="ADAL" clId="{77D45A51-78D9-45BE-9924-CBFAD5622C8B}" dt="2020-04-08T14:05:57.272" v="1015"/>
        <pc:sldMkLst>
          <pc:docMk/>
          <pc:sldMk cId="1777497062" sldId="561"/>
        </pc:sldMkLst>
        <pc:spChg chg="mod">
          <ac:chgData name="Jack Tracey" userId="98dee47e-7932-4ede-ad91-867e883fbe46" providerId="ADAL" clId="{77D45A51-78D9-45BE-9924-CBFAD5622C8B}" dt="2020-04-08T08:24:42.170" v="895" actId="1076"/>
          <ac:spMkLst>
            <pc:docMk/>
            <pc:sldMk cId="1777497062" sldId="561"/>
            <ac:spMk id="10" creationId="{1B800DE3-CF57-4603-8854-4529CC0A5DD9}"/>
          </ac:spMkLst>
        </pc:spChg>
      </pc:sldChg>
      <pc:sldChg chg="modSp mod ord modTransition">
        <pc:chgData name="Jack Tracey" userId="98dee47e-7932-4ede-ad91-867e883fbe46" providerId="ADAL" clId="{77D45A51-78D9-45BE-9924-CBFAD5622C8B}" dt="2020-04-08T14:05:57.272" v="1015"/>
        <pc:sldMkLst>
          <pc:docMk/>
          <pc:sldMk cId="2677086433" sldId="562"/>
        </pc:sldMkLst>
        <pc:spChg chg="mod">
          <ac:chgData name="Jack Tracey" userId="98dee47e-7932-4ede-ad91-867e883fbe46" providerId="ADAL" clId="{77D45A51-78D9-45BE-9924-CBFAD5622C8B}" dt="2020-04-08T08:24:30.358" v="893" actId="1076"/>
          <ac:spMkLst>
            <pc:docMk/>
            <pc:sldMk cId="2677086433" sldId="562"/>
            <ac:spMk id="10" creationId="{1B800DE3-CF57-4603-8854-4529CC0A5DD9}"/>
          </ac:spMkLst>
        </pc:spChg>
      </pc:sldChg>
      <pc:sldChg chg="modSp add del mod modTransition">
        <pc:chgData name="Jack Tracey" userId="98dee47e-7932-4ede-ad91-867e883fbe46" providerId="ADAL" clId="{77D45A51-78D9-45BE-9924-CBFAD5622C8B}" dt="2020-04-08T14:05:57.272" v="1015"/>
        <pc:sldMkLst>
          <pc:docMk/>
          <pc:sldMk cId="1459879951" sldId="2076136265"/>
        </pc:sldMkLst>
        <pc:spChg chg="mod">
          <ac:chgData name="Jack Tracey" userId="98dee47e-7932-4ede-ad91-867e883fbe46" providerId="ADAL" clId="{77D45A51-78D9-45BE-9924-CBFAD5622C8B}" dt="2020-04-05T18:46:49.616" v="3"/>
          <ac:spMkLst>
            <pc:docMk/>
            <pc:sldMk cId="1459879951" sldId="2076136265"/>
            <ac:spMk id="2" creationId="{953D82C8-D9B6-4DC8-AA6F-891EC8178207}"/>
          </ac:spMkLst>
        </pc:spChg>
      </pc:sldChg>
      <pc:sldChg chg="modSp add mod modTransition modAnim">
        <pc:chgData name="Jack Tracey" userId="98dee47e-7932-4ede-ad91-867e883fbe46" providerId="ADAL" clId="{77D45A51-78D9-45BE-9924-CBFAD5622C8B}" dt="2020-04-08T18:54:29.973" v="1019" actId="1076"/>
        <pc:sldMkLst>
          <pc:docMk/>
          <pc:sldMk cId="40894452" sldId="2076136266"/>
        </pc:sldMkLst>
        <pc:spChg chg="mod">
          <ac:chgData name="Jack Tracey" userId="98dee47e-7932-4ede-ad91-867e883fbe46" providerId="ADAL" clId="{77D45A51-78D9-45BE-9924-CBFAD5622C8B}" dt="2020-04-05T18:56:30.681" v="24" actId="14100"/>
          <ac:spMkLst>
            <pc:docMk/>
            <pc:sldMk cId="40894452" sldId="2076136266"/>
            <ac:spMk id="8" creationId="{022A2DF9-416C-4715-A4CE-B77A82E740E9}"/>
          </ac:spMkLst>
        </pc:spChg>
        <pc:spChg chg="mod">
          <ac:chgData name="Jack Tracey" userId="98dee47e-7932-4ede-ad91-867e883fbe46" providerId="ADAL" clId="{77D45A51-78D9-45BE-9924-CBFAD5622C8B}" dt="2020-04-05T18:56:25.275" v="23" actId="20577"/>
          <ac:spMkLst>
            <pc:docMk/>
            <pc:sldMk cId="40894452" sldId="2076136266"/>
            <ac:spMk id="9" creationId="{2448901E-48B7-4417-BBB0-4E51F689A76D}"/>
          </ac:spMkLst>
        </pc:spChg>
        <pc:spChg chg="mod">
          <ac:chgData name="Jack Tracey" userId="98dee47e-7932-4ede-ad91-867e883fbe46" providerId="ADAL" clId="{77D45A51-78D9-45BE-9924-CBFAD5622C8B}" dt="2020-04-08T18:54:29.973" v="1019" actId="1076"/>
          <ac:spMkLst>
            <pc:docMk/>
            <pc:sldMk cId="40894452" sldId="2076136266"/>
            <ac:spMk id="10" creationId="{1B800DE3-CF57-4603-8854-4529CC0A5DD9}"/>
          </ac:spMkLst>
        </pc:spChg>
      </pc:sldChg>
      <pc:sldChg chg="modSp add del mod modTransition setBg">
        <pc:chgData name="Jack Tracey" userId="98dee47e-7932-4ede-ad91-867e883fbe46" providerId="ADAL" clId="{77D45A51-78D9-45BE-9924-CBFAD5622C8B}" dt="2020-04-08T18:52:33.770" v="1018" actId="47"/>
        <pc:sldMkLst>
          <pc:docMk/>
          <pc:sldMk cId="3583084464" sldId="2076136268"/>
        </pc:sldMkLst>
        <pc:spChg chg="mod">
          <ac:chgData name="Jack Tracey" userId="98dee47e-7932-4ede-ad91-867e883fbe46" providerId="ADAL" clId="{77D45A51-78D9-45BE-9924-CBFAD5622C8B}" dt="2020-04-05T19:04:54.131" v="204" actId="27636"/>
          <ac:spMkLst>
            <pc:docMk/>
            <pc:sldMk cId="3583084464" sldId="2076136268"/>
            <ac:spMk id="3" creationId="{F775482D-1EB3-4321-90E9-E59FC99C3219}"/>
          </ac:spMkLst>
        </pc:spChg>
      </pc:sldChg>
      <pc:sldChg chg="modSp add del mod modTransition setBg">
        <pc:chgData name="Jack Tracey" userId="98dee47e-7932-4ede-ad91-867e883fbe46" providerId="ADAL" clId="{77D45A51-78D9-45BE-9924-CBFAD5622C8B}" dt="2020-04-08T18:52:33.770" v="1018" actId="47"/>
        <pc:sldMkLst>
          <pc:docMk/>
          <pc:sldMk cId="162264690" sldId="2076136269"/>
        </pc:sldMkLst>
        <pc:spChg chg="mod">
          <ac:chgData name="Jack Tracey" userId="98dee47e-7932-4ede-ad91-867e883fbe46" providerId="ADAL" clId="{77D45A51-78D9-45BE-9924-CBFAD5622C8B}" dt="2020-04-05T19:51:34.648" v="738" actId="27636"/>
          <ac:spMkLst>
            <pc:docMk/>
            <pc:sldMk cId="162264690" sldId="2076136269"/>
            <ac:spMk id="3" creationId="{F775482D-1EB3-4321-90E9-E59FC99C3219}"/>
          </ac:spMkLst>
        </pc:spChg>
      </pc:sldChg>
      <pc:sldChg chg="addSp delSp modSp add mod modTransition delAnim modAnim">
        <pc:chgData name="Jack Tracey" userId="98dee47e-7932-4ede-ad91-867e883fbe46" providerId="ADAL" clId="{77D45A51-78D9-45BE-9924-CBFAD5622C8B}" dt="2020-04-08T14:05:57.272" v="1015"/>
        <pc:sldMkLst>
          <pc:docMk/>
          <pc:sldMk cId="2962626701" sldId="2076136270"/>
        </pc:sldMkLst>
        <pc:spChg chg="mod">
          <ac:chgData name="Jack Tracey" userId="98dee47e-7932-4ede-ad91-867e883fbe46" providerId="ADAL" clId="{77D45A51-78D9-45BE-9924-CBFAD5622C8B}" dt="2020-04-08T08:17:59.701" v="837" actId="14100"/>
          <ac:spMkLst>
            <pc:docMk/>
            <pc:sldMk cId="2962626701" sldId="2076136270"/>
            <ac:spMk id="8" creationId="{022A2DF9-416C-4715-A4CE-B77A82E740E9}"/>
          </ac:spMkLst>
        </pc:spChg>
        <pc:spChg chg="mod">
          <ac:chgData name="Jack Tracey" userId="98dee47e-7932-4ede-ad91-867e883fbe46" providerId="ADAL" clId="{77D45A51-78D9-45BE-9924-CBFAD5622C8B}" dt="2020-04-08T08:17:55.504" v="836" actId="20577"/>
          <ac:spMkLst>
            <pc:docMk/>
            <pc:sldMk cId="2962626701" sldId="2076136270"/>
            <ac:spMk id="9" creationId="{2448901E-48B7-4417-BBB0-4E51F689A76D}"/>
          </ac:spMkLst>
        </pc:spChg>
        <pc:spChg chg="del mod">
          <ac:chgData name="Jack Tracey" userId="98dee47e-7932-4ede-ad91-867e883fbe46" providerId="ADAL" clId="{77D45A51-78D9-45BE-9924-CBFAD5622C8B}" dt="2020-04-08T08:18:03.813" v="839" actId="478"/>
          <ac:spMkLst>
            <pc:docMk/>
            <pc:sldMk cId="2962626701" sldId="2076136270"/>
            <ac:spMk id="10" creationId="{1B800DE3-CF57-4603-8854-4529CC0A5DD9}"/>
          </ac:spMkLst>
        </pc:spChg>
        <pc:spChg chg="add mod">
          <ac:chgData name="Jack Tracey" userId="98dee47e-7932-4ede-ad91-867e883fbe46" providerId="ADAL" clId="{77D45A51-78D9-45BE-9924-CBFAD5622C8B}" dt="2020-04-08T08:24:02.083" v="889" actId="1076"/>
          <ac:spMkLst>
            <pc:docMk/>
            <pc:sldMk cId="2962626701" sldId="2076136270"/>
            <ac:spMk id="11" creationId="{7E791B8C-708B-48EC-B09F-B9A16403B2E7}"/>
          </ac:spMkLst>
        </pc:spChg>
        <pc:picChg chg="add mod modCrop">
          <ac:chgData name="Jack Tracey" userId="98dee47e-7932-4ede-ad91-867e883fbe46" providerId="ADAL" clId="{77D45A51-78D9-45BE-9924-CBFAD5622C8B}" dt="2020-04-08T08:18:49.591" v="845" actId="1076"/>
          <ac:picMkLst>
            <pc:docMk/>
            <pc:sldMk cId="2962626701" sldId="2076136270"/>
            <ac:picMk id="2" creationId="{1C3AB451-507D-4FD1-89AE-48852F97045F}"/>
          </ac:picMkLst>
        </pc:picChg>
      </pc:sldChg>
      <pc:sldChg chg="addSp delSp modSp add mod modTransition delAnim modAnim">
        <pc:chgData name="Jack Tracey" userId="98dee47e-7932-4ede-ad91-867e883fbe46" providerId="ADAL" clId="{77D45A51-78D9-45BE-9924-CBFAD5622C8B}" dt="2020-04-08T14:05:57.272" v="1015"/>
        <pc:sldMkLst>
          <pc:docMk/>
          <pc:sldMk cId="1014973099" sldId="2076136271"/>
        </pc:sldMkLst>
        <pc:spChg chg="mod">
          <ac:chgData name="Jack Tracey" userId="98dee47e-7932-4ede-ad91-867e883fbe46" providerId="ADAL" clId="{77D45A51-78D9-45BE-9924-CBFAD5622C8B}" dt="2020-04-08T08:24:56.841" v="907" actId="14100"/>
          <ac:spMkLst>
            <pc:docMk/>
            <pc:sldMk cId="1014973099" sldId="2076136271"/>
            <ac:spMk id="8" creationId="{022A2DF9-416C-4715-A4CE-B77A82E740E9}"/>
          </ac:spMkLst>
        </pc:spChg>
        <pc:spChg chg="mod">
          <ac:chgData name="Jack Tracey" userId="98dee47e-7932-4ede-ad91-867e883fbe46" providerId="ADAL" clId="{77D45A51-78D9-45BE-9924-CBFAD5622C8B}" dt="2020-04-08T08:24:53.592" v="906" actId="20577"/>
          <ac:spMkLst>
            <pc:docMk/>
            <pc:sldMk cId="1014973099" sldId="2076136271"/>
            <ac:spMk id="9" creationId="{2448901E-48B7-4417-BBB0-4E51F689A76D}"/>
          </ac:spMkLst>
        </pc:spChg>
        <pc:spChg chg="del mod">
          <ac:chgData name="Jack Tracey" userId="98dee47e-7932-4ede-ad91-867e883fbe46" providerId="ADAL" clId="{77D45A51-78D9-45BE-9924-CBFAD5622C8B}" dt="2020-04-08T08:25:02.258" v="909" actId="478"/>
          <ac:spMkLst>
            <pc:docMk/>
            <pc:sldMk cId="1014973099" sldId="2076136271"/>
            <ac:spMk id="10" creationId="{1B800DE3-CF57-4603-8854-4529CC0A5DD9}"/>
          </ac:spMkLst>
        </pc:spChg>
        <pc:picChg chg="add mod">
          <ac:chgData name="Jack Tracey" userId="98dee47e-7932-4ede-ad91-867e883fbe46" providerId="ADAL" clId="{77D45A51-78D9-45BE-9924-CBFAD5622C8B}" dt="2020-04-08T08:25:31.597" v="914" actId="207"/>
          <ac:picMkLst>
            <pc:docMk/>
            <pc:sldMk cId="1014973099" sldId="2076136271"/>
            <ac:picMk id="3" creationId="{FA475E68-035D-495C-B506-3D31708D045E}"/>
          </ac:picMkLst>
        </pc:picChg>
      </pc:sldChg>
      <pc:sldChg chg="addSp delSp modSp add mod modTransition delAnim">
        <pc:chgData name="Jack Tracey" userId="98dee47e-7932-4ede-ad91-867e883fbe46" providerId="ADAL" clId="{77D45A51-78D9-45BE-9924-CBFAD5622C8B}" dt="2020-04-08T14:05:57.272" v="1015"/>
        <pc:sldMkLst>
          <pc:docMk/>
          <pc:sldMk cId="1088687087" sldId="2076136272"/>
        </pc:sldMkLst>
        <pc:spChg chg="mod">
          <ac:chgData name="Jack Tracey" userId="98dee47e-7932-4ede-ad91-867e883fbe46" providerId="ADAL" clId="{77D45A51-78D9-45BE-9924-CBFAD5622C8B}" dt="2020-04-08T14:05:10.005" v="1008" actId="14100"/>
          <ac:spMkLst>
            <pc:docMk/>
            <pc:sldMk cId="1088687087" sldId="2076136272"/>
            <ac:spMk id="8" creationId="{022A2DF9-416C-4715-A4CE-B77A82E740E9}"/>
          </ac:spMkLst>
        </pc:spChg>
        <pc:spChg chg="mod">
          <ac:chgData name="Jack Tracey" userId="98dee47e-7932-4ede-ad91-867e883fbe46" providerId="ADAL" clId="{77D45A51-78D9-45BE-9924-CBFAD5622C8B}" dt="2020-04-08T14:05:05.967" v="1007" actId="20577"/>
          <ac:spMkLst>
            <pc:docMk/>
            <pc:sldMk cId="1088687087" sldId="2076136272"/>
            <ac:spMk id="9" creationId="{2448901E-48B7-4417-BBB0-4E51F689A76D}"/>
          </ac:spMkLst>
        </pc:spChg>
        <pc:spChg chg="del">
          <ac:chgData name="Jack Tracey" userId="98dee47e-7932-4ede-ad91-867e883fbe46" providerId="ADAL" clId="{77D45A51-78D9-45BE-9924-CBFAD5622C8B}" dt="2020-04-08T14:05:12.329" v="1009" actId="478"/>
          <ac:spMkLst>
            <pc:docMk/>
            <pc:sldMk cId="1088687087" sldId="2076136272"/>
            <ac:spMk id="10" creationId="{1B800DE3-CF57-4603-8854-4529CC0A5DD9}"/>
          </ac:spMkLst>
        </pc:spChg>
        <pc:picChg chg="add mod">
          <ac:chgData name="Jack Tracey" userId="98dee47e-7932-4ede-ad91-867e883fbe46" providerId="ADAL" clId="{77D45A51-78D9-45BE-9924-CBFAD5622C8B}" dt="2020-04-08T14:05:48.365" v="1014" actId="1076"/>
          <ac:picMkLst>
            <pc:docMk/>
            <pc:sldMk cId="1088687087" sldId="2076136272"/>
            <ac:picMk id="3" creationId="{072206D6-4748-4D59-8587-55CEA670E5D2}"/>
          </ac:picMkLst>
        </pc:picChg>
      </pc:sldChg>
      <pc:sldMasterChg chg="del delSldLayout">
        <pc:chgData name="Jack Tracey" userId="98dee47e-7932-4ede-ad91-867e883fbe46" providerId="ADAL" clId="{77D45A51-78D9-45BE-9924-CBFAD5622C8B}" dt="2020-04-08T18:52:33.770" v="1018" actId="47"/>
        <pc:sldMasterMkLst>
          <pc:docMk/>
          <pc:sldMasterMk cId="3111866878" sldId="2147484078"/>
        </pc:sldMasterMkLst>
        <pc:sldLayoutChg chg="del">
          <pc:chgData name="Jack Tracey" userId="98dee47e-7932-4ede-ad91-867e883fbe46" providerId="ADAL" clId="{77D45A51-78D9-45BE-9924-CBFAD5622C8B}" dt="2020-04-08T18:52:33.770" v="1018" actId="47"/>
          <pc:sldLayoutMkLst>
            <pc:docMk/>
            <pc:sldMasterMk cId="3111866878" sldId="2147484078"/>
            <pc:sldLayoutMk cId="3263830336" sldId="2147484079"/>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37779727" sldId="2147484080"/>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1867777982" sldId="2147484081"/>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655519631" sldId="2147484082"/>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2824388805" sldId="2147484083"/>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1062130947" sldId="2147484084"/>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2136334271" sldId="2147484085"/>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2499870647" sldId="2147484086"/>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76061869" sldId="2147484087"/>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3410781208" sldId="2147484088"/>
          </pc:sldLayoutMkLst>
        </pc:sldLayoutChg>
        <pc:sldLayoutChg chg="del">
          <pc:chgData name="Jack Tracey" userId="98dee47e-7932-4ede-ad91-867e883fbe46" providerId="ADAL" clId="{77D45A51-78D9-45BE-9924-CBFAD5622C8B}" dt="2020-04-08T18:52:33.770" v="1018" actId="47"/>
          <pc:sldLayoutMkLst>
            <pc:docMk/>
            <pc:sldMasterMk cId="3111866878" sldId="2147484078"/>
            <pc:sldLayoutMk cId="4007615415" sldId="2147484089"/>
          </pc:sldLayoutMkLst>
        </pc:sldLayoutChg>
      </pc:sldMasterChg>
    </pc:docChg>
  </pc:docChgLst>
  <pc:docChgLst>
    <pc:chgData name="Jack Tracey" userId="98dee47e-7932-4ede-ad91-867e883fbe46" providerId="ADAL" clId="{E8ABC154-E670-4ED3-8B2E-648C87624B6A}"/>
    <pc:docChg chg="custSel modSld">
      <pc:chgData name="Jack Tracey" userId="98dee47e-7932-4ede-ad91-867e883fbe46" providerId="ADAL" clId="{E8ABC154-E670-4ED3-8B2E-648C87624B6A}" dt="2019-07-25T14:09:02.989" v="428" actId="113"/>
      <pc:docMkLst>
        <pc:docMk/>
      </pc:docMkLst>
      <pc:sldChg chg="modSp">
        <pc:chgData name="Jack Tracey" userId="98dee47e-7932-4ede-ad91-867e883fbe46" providerId="ADAL" clId="{E8ABC154-E670-4ED3-8B2E-648C87624B6A}" dt="2019-07-25T14:03:15.072" v="1" actId="27636"/>
        <pc:sldMkLst>
          <pc:docMk/>
          <pc:sldMk cId="1826063434" sldId="260"/>
        </pc:sldMkLst>
        <pc:spChg chg="mod">
          <ac:chgData name="Jack Tracey" userId="98dee47e-7932-4ede-ad91-867e883fbe46" providerId="ADAL" clId="{E8ABC154-E670-4ED3-8B2E-648C87624B6A}" dt="2019-07-25T14:03:15.072" v="1" actId="27636"/>
          <ac:spMkLst>
            <pc:docMk/>
            <pc:sldMk cId="1826063434" sldId="260"/>
            <ac:spMk id="3" creationId="{FB77A8A2-BD64-4C21-977E-EAC2AC092B8D}"/>
          </ac:spMkLst>
        </pc:spChg>
      </pc:sldChg>
      <pc:sldChg chg="modSp">
        <pc:chgData name="Jack Tracey" userId="98dee47e-7932-4ede-ad91-867e883fbe46" providerId="ADAL" clId="{E8ABC154-E670-4ED3-8B2E-648C87624B6A}" dt="2019-07-25T14:03:16.494" v="4" actId="6549"/>
        <pc:sldMkLst>
          <pc:docMk/>
          <pc:sldMk cId="533326867" sldId="544"/>
        </pc:sldMkLst>
        <pc:spChg chg="mod">
          <ac:chgData name="Jack Tracey" userId="98dee47e-7932-4ede-ad91-867e883fbe46" providerId="ADAL" clId="{E8ABC154-E670-4ED3-8B2E-648C87624B6A}" dt="2019-07-25T14:03:16.494" v="4" actId="6549"/>
          <ac:spMkLst>
            <pc:docMk/>
            <pc:sldMk cId="533326867" sldId="544"/>
            <ac:spMk id="10" creationId="{1B800DE3-CF57-4603-8854-4529CC0A5DD9}"/>
          </ac:spMkLst>
        </pc:spChg>
      </pc:sldChg>
      <pc:sldChg chg="addSp modSp">
        <pc:chgData name="Jack Tracey" userId="98dee47e-7932-4ede-ad91-867e883fbe46" providerId="ADAL" clId="{E8ABC154-E670-4ED3-8B2E-648C87624B6A}" dt="2019-07-25T14:09:02.989" v="428" actId="113"/>
        <pc:sldMkLst>
          <pc:docMk/>
          <pc:sldMk cId="2965548729" sldId="546"/>
        </pc:sldMkLst>
        <pc:spChg chg="mod">
          <ac:chgData name="Jack Tracey" userId="98dee47e-7932-4ede-ad91-867e883fbe46" providerId="ADAL" clId="{E8ABC154-E670-4ED3-8B2E-648C87624B6A}" dt="2019-07-25T14:09:02.989" v="428" actId="113"/>
          <ac:spMkLst>
            <pc:docMk/>
            <pc:sldMk cId="2965548729" sldId="546"/>
            <ac:spMk id="10" creationId="{1B800DE3-CF57-4603-8854-4529CC0A5DD9}"/>
          </ac:spMkLst>
        </pc:spChg>
        <pc:picChg chg="add mod modCrop">
          <ac:chgData name="Jack Tracey" userId="98dee47e-7932-4ede-ad91-867e883fbe46" providerId="ADAL" clId="{E8ABC154-E670-4ED3-8B2E-648C87624B6A}" dt="2019-07-25T14:08:21.982" v="337" actId="1076"/>
          <ac:picMkLst>
            <pc:docMk/>
            <pc:sldMk cId="2965548729" sldId="546"/>
            <ac:picMk id="2" creationId="{E2EC593B-08E5-44DF-B504-73056F9A7918}"/>
          </ac:picMkLst>
        </pc:picChg>
      </pc:sldChg>
    </pc:docChg>
  </pc:docChgLst>
  <pc:docChgLst>
    <pc:chgData name="Ryan Littlemore" userId="e455dac8-f9aa-4cf6-ad37-fb5765c604eb" providerId="ADAL" clId="{0AD909D7-14AA-4BB4-B377-B4ABF8EB9395}"/>
    <pc:docChg chg="custSel modSld">
      <pc:chgData name="Ryan Littlemore" userId="e455dac8-f9aa-4cf6-ad37-fb5765c604eb" providerId="ADAL" clId="{0AD909D7-14AA-4BB4-B377-B4ABF8EB9395}" dt="2019-07-25T14:11:45.971" v="414" actId="729"/>
      <pc:docMkLst>
        <pc:docMk/>
      </pc:docMkLst>
      <pc:sldChg chg="mod modShow">
        <pc:chgData name="Ryan Littlemore" userId="e455dac8-f9aa-4cf6-ad37-fb5765c604eb" providerId="ADAL" clId="{0AD909D7-14AA-4BB4-B377-B4ABF8EB9395}" dt="2019-07-25T14:11:45.971" v="414" actId="729"/>
        <pc:sldMkLst>
          <pc:docMk/>
          <pc:sldMk cId="440760351" sldId="258"/>
        </pc:sldMkLst>
      </pc:sldChg>
      <pc:sldChg chg="modSp">
        <pc:chgData name="Ryan Littlemore" userId="e455dac8-f9aa-4cf6-ad37-fb5765c604eb" providerId="ADAL" clId="{0AD909D7-14AA-4BB4-B377-B4ABF8EB9395}" dt="2019-07-25T13:49:21.184" v="410" actId="20577"/>
        <pc:sldMkLst>
          <pc:docMk/>
          <pc:sldMk cId="2323985547" sldId="507"/>
        </pc:sldMkLst>
        <pc:spChg chg="mod">
          <ac:chgData name="Ryan Littlemore" userId="e455dac8-f9aa-4cf6-ad37-fb5765c604eb" providerId="ADAL" clId="{0AD909D7-14AA-4BB4-B377-B4ABF8EB9395}" dt="2019-07-25T13:49:21.184" v="410" actId="20577"/>
          <ac:spMkLst>
            <pc:docMk/>
            <pc:sldMk cId="2323985547" sldId="507"/>
            <ac:spMk id="31" creationId="{89E4F5E5-661B-4968-86C4-527F2600534E}"/>
          </ac:spMkLst>
        </pc:spChg>
      </pc:sldChg>
      <pc:sldChg chg="addSp delSp modSp">
        <pc:chgData name="Ryan Littlemore" userId="e455dac8-f9aa-4cf6-ad37-fb5765c604eb" providerId="ADAL" clId="{0AD909D7-14AA-4BB4-B377-B4ABF8EB9395}" dt="2019-07-25T13:26:45.014" v="27" actId="1037"/>
        <pc:sldMkLst>
          <pc:docMk/>
          <pc:sldMk cId="1620967048" sldId="539"/>
        </pc:sldMkLst>
        <pc:spChg chg="mod">
          <ac:chgData name="Ryan Littlemore" userId="e455dac8-f9aa-4cf6-ad37-fb5765c604eb" providerId="ADAL" clId="{0AD909D7-14AA-4BB4-B377-B4ABF8EB9395}" dt="2019-07-25T13:26:45.014" v="27" actId="1037"/>
          <ac:spMkLst>
            <pc:docMk/>
            <pc:sldMk cId="1620967048" sldId="539"/>
            <ac:spMk id="7" creationId="{3041B32A-7E40-4D4B-ACE4-D8C665F8B323}"/>
          </ac:spMkLst>
        </pc:spChg>
        <pc:spChg chg="mod">
          <ac:chgData name="Ryan Littlemore" userId="e455dac8-f9aa-4cf6-ad37-fb5765c604eb" providerId="ADAL" clId="{0AD909D7-14AA-4BB4-B377-B4ABF8EB9395}" dt="2019-07-25T13:26:42.841" v="25" actId="1038"/>
          <ac:spMkLst>
            <pc:docMk/>
            <pc:sldMk cId="1620967048" sldId="539"/>
            <ac:spMk id="10" creationId="{1B800DE3-CF57-4603-8854-4529CC0A5DD9}"/>
          </ac:spMkLst>
        </pc:spChg>
        <pc:picChg chg="add mod">
          <ac:chgData name="Ryan Littlemore" userId="e455dac8-f9aa-4cf6-ad37-fb5765c604eb" providerId="ADAL" clId="{0AD909D7-14AA-4BB4-B377-B4ABF8EB9395}" dt="2019-07-25T13:26:16.186" v="12" actId="1076"/>
          <ac:picMkLst>
            <pc:docMk/>
            <pc:sldMk cId="1620967048" sldId="539"/>
            <ac:picMk id="3" creationId="{DD7B28EA-F684-4C7F-888D-41E396807A32}"/>
          </ac:picMkLst>
        </pc:picChg>
        <pc:picChg chg="del mod">
          <ac:chgData name="Ryan Littlemore" userId="e455dac8-f9aa-4cf6-ad37-fb5765c604eb" providerId="ADAL" clId="{0AD909D7-14AA-4BB4-B377-B4ABF8EB9395}" dt="2019-07-25T13:26:11.240" v="11" actId="478"/>
          <ac:picMkLst>
            <pc:docMk/>
            <pc:sldMk cId="1620967048" sldId="539"/>
            <ac:picMk id="6" creationId="{24DB8550-FD26-444E-903A-972D78972EC1}"/>
          </ac:picMkLst>
        </pc:picChg>
      </pc:sldChg>
      <pc:sldChg chg="modSp">
        <pc:chgData name="Ryan Littlemore" userId="e455dac8-f9aa-4cf6-ad37-fb5765c604eb" providerId="ADAL" clId="{0AD909D7-14AA-4BB4-B377-B4ABF8EB9395}" dt="2019-07-25T13:29:32.560" v="126" actId="20577"/>
        <pc:sldMkLst>
          <pc:docMk/>
          <pc:sldMk cId="3679143134" sldId="541"/>
        </pc:sldMkLst>
        <pc:spChg chg="mod">
          <ac:chgData name="Ryan Littlemore" userId="e455dac8-f9aa-4cf6-ad37-fb5765c604eb" providerId="ADAL" clId="{0AD909D7-14AA-4BB4-B377-B4ABF8EB9395}" dt="2019-07-25T13:29:32.560" v="126" actId="20577"/>
          <ac:spMkLst>
            <pc:docMk/>
            <pc:sldMk cId="3679143134" sldId="541"/>
            <ac:spMk id="10" creationId="{1B800DE3-CF57-4603-8854-4529CC0A5DD9}"/>
          </ac:spMkLst>
        </pc:spChg>
      </pc:sldChg>
      <pc:sldChg chg="addSp delSp modSp delAnim modAnim">
        <pc:chgData name="Ryan Littlemore" userId="e455dac8-f9aa-4cf6-ad37-fb5765c604eb" providerId="ADAL" clId="{0AD909D7-14AA-4BB4-B377-B4ABF8EB9395}" dt="2019-07-25T14:02:16.238" v="413" actId="478"/>
        <pc:sldMkLst>
          <pc:docMk/>
          <pc:sldMk cId="3420653574" sldId="542"/>
        </pc:sldMkLst>
        <pc:spChg chg="mod">
          <ac:chgData name="Ryan Littlemore" userId="e455dac8-f9aa-4cf6-ad37-fb5765c604eb" providerId="ADAL" clId="{0AD909D7-14AA-4BB4-B377-B4ABF8EB9395}" dt="2019-07-25T13:48:38.882" v="393" actId="20577"/>
          <ac:spMkLst>
            <pc:docMk/>
            <pc:sldMk cId="3420653574" sldId="542"/>
            <ac:spMk id="2" creationId="{39233361-26D1-4118-99CB-A5545E724B8F}"/>
          </ac:spMkLst>
        </pc:spChg>
        <pc:spChg chg="del">
          <ac:chgData name="Ryan Littlemore" userId="e455dac8-f9aa-4cf6-ad37-fb5765c604eb" providerId="ADAL" clId="{0AD909D7-14AA-4BB4-B377-B4ABF8EB9395}" dt="2019-07-25T14:02:16.238" v="413" actId="478"/>
          <ac:spMkLst>
            <pc:docMk/>
            <pc:sldMk cId="3420653574" sldId="542"/>
            <ac:spMk id="3" creationId="{1485FE63-F237-4E3B-8AF5-CBFD3D932FE7}"/>
          </ac:spMkLst>
        </pc:spChg>
        <pc:spChg chg="add del mod">
          <ac:chgData name="Ryan Littlemore" userId="e455dac8-f9aa-4cf6-ad37-fb5765c604eb" providerId="ADAL" clId="{0AD909D7-14AA-4BB4-B377-B4ABF8EB9395}" dt="2019-07-25T14:02:13.776" v="412" actId="478"/>
          <ac:spMkLst>
            <pc:docMk/>
            <pc:sldMk cId="3420653574" sldId="542"/>
            <ac:spMk id="6" creationId="{48849642-6D23-40D9-B9A3-E37D6F74418C}"/>
          </ac:spMkLst>
        </pc:spChg>
        <pc:picChg chg="del">
          <ac:chgData name="Ryan Littlemore" userId="e455dac8-f9aa-4cf6-ad37-fb5765c604eb" providerId="ADAL" clId="{0AD909D7-14AA-4BB4-B377-B4ABF8EB9395}" dt="2019-07-25T14:02:16.238" v="413" actId="478"/>
          <ac:picMkLst>
            <pc:docMk/>
            <pc:sldMk cId="3420653574" sldId="542"/>
            <ac:picMk id="4" creationId="{6FE0CD76-A715-41D4-B44A-84BE10916120}"/>
          </ac:picMkLst>
        </pc:picChg>
        <pc:picChg chg="add del mod">
          <ac:chgData name="Ryan Littlemore" userId="e455dac8-f9aa-4cf6-ad37-fb5765c604eb" providerId="ADAL" clId="{0AD909D7-14AA-4BB4-B377-B4ABF8EB9395}" dt="2019-07-25T14:02:13.776" v="412" actId="478"/>
          <ac:picMkLst>
            <pc:docMk/>
            <pc:sldMk cId="3420653574" sldId="542"/>
            <ac:picMk id="7" creationId="{583EE21F-780A-4710-A06C-D8992F6D7E0D}"/>
          </ac:picMkLst>
        </pc:picChg>
      </pc:sldChg>
      <pc:sldChg chg="delSp modSp delAnim">
        <pc:chgData name="Ryan Littlemore" userId="e455dac8-f9aa-4cf6-ad37-fb5765c604eb" providerId="ADAL" clId="{0AD909D7-14AA-4BB4-B377-B4ABF8EB9395}" dt="2019-07-25T13:48:04.546" v="364" actId="478"/>
        <pc:sldMkLst>
          <pc:docMk/>
          <pc:sldMk cId="2714039227" sldId="543"/>
        </pc:sldMkLst>
        <pc:spChg chg="mod">
          <ac:chgData name="Ryan Littlemore" userId="e455dac8-f9aa-4cf6-ad37-fb5765c604eb" providerId="ADAL" clId="{0AD909D7-14AA-4BB4-B377-B4ABF8EB9395}" dt="2019-07-25T13:47:54.976" v="363" actId="20577"/>
          <ac:spMkLst>
            <pc:docMk/>
            <pc:sldMk cId="2714039227" sldId="543"/>
            <ac:spMk id="2" creationId="{39233361-26D1-4118-99CB-A5545E724B8F}"/>
          </ac:spMkLst>
        </pc:spChg>
        <pc:spChg chg="del">
          <ac:chgData name="Ryan Littlemore" userId="e455dac8-f9aa-4cf6-ad37-fb5765c604eb" providerId="ADAL" clId="{0AD909D7-14AA-4BB4-B377-B4ABF8EB9395}" dt="2019-07-25T13:48:04.546" v="364" actId="478"/>
          <ac:spMkLst>
            <pc:docMk/>
            <pc:sldMk cId="2714039227" sldId="543"/>
            <ac:spMk id="3" creationId="{041DCC67-E849-45FB-8844-DCBEF3A2C5C9}"/>
          </ac:spMkLst>
        </pc:spChg>
        <pc:picChg chg="del">
          <ac:chgData name="Ryan Littlemore" userId="e455dac8-f9aa-4cf6-ad37-fb5765c604eb" providerId="ADAL" clId="{0AD909D7-14AA-4BB4-B377-B4ABF8EB9395}" dt="2019-07-25T13:48:04.546" v="364" actId="478"/>
          <ac:picMkLst>
            <pc:docMk/>
            <pc:sldMk cId="2714039227" sldId="543"/>
            <ac:picMk id="4" creationId="{A60A31E7-D038-4C95-83BD-FD785E0E4A9A}"/>
          </ac:picMkLst>
        </pc:picChg>
      </pc:sldChg>
      <pc:sldChg chg="modSp modAnim">
        <pc:chgData name="Ryan Littlemore" userId="e455dac8-f9aa-4cf6-ad37-fb5765c604eb" providerId="ADAL" clId="{0AD909D7-14AA-4BB4-B377-B4ABF8EB9395}" dt="2019-07-25T13:47:26.720" v="329" actId="20577"/>
        <pc:sldMkLst>
          <pc:docMk/>
          <pc:sldMk cId="1115611432" sldId="545"/>
        </pc:sldMkLst>
        <pc:spChg chg="mod">
          <ac:chgData name="Ryan Littlemore" userId="e455dac8-f9aa-4cf6-ad37-fb5765c604eb" providerId="ADAL" clId="{0AD909D7-14AA-4BB4-B377-B4ABF8EB9395}" dt="2019-07-25T13:47:26.720" v="329" actId="20577"/>
          <ac:spMkLst>
            <pc:docMk/>
            <pc:sldMk cId="1115611432" sldId="545"/>
            <ac:spMk id="9" creationId="{2448901E-48B7-4417-BBB0-4E51F689A76D}"/>
          </ac:spMkLst>
        </pc:spChg>
        <pc:spChg chg="mod">
          <ac:chgData name="Ryan Littlemore" userId="e455dac8-f9aa-4cf6-ad37-fb5765c604eb" providerId="ADAL" clId="{0AD909D7-14AA-4BB4-B377-B4ABF8EB9395}" dt="2019-07-25T13:46:41.183" v="325" actId="20577"/>
          <ac:spMkLst>
            <pc:docMk/>
            <pc:sldMk cId="1115611432" sldId="545"/>
            <ac:spMk id="10" creationId="{1B800DE3-CF57-4603-8854-4529CC0A5DD9}"/>
          </ac:spMkLst>
        </pc:spChg>
      </pc:sldChg>
      <pc:sldChg chg="modSp">
        <pc:chgData name="Ryan Littlemore" userId="e455dac8-f9aa-4cf6-ad37-fb5765c604eb" providerId="ADAL" clId="{0AD909D7-14AA-4BB4-B377-B4ABF8EB9395}" dt="2019-07-25T13:48:48.301" v="406" actId="20577"/>
        <pc:sldMkLst>
          <pc:docMk/>
          <pc:sldMk cId="2965548729" sldId="546"/>
        </pc:sldMkLst>
        <pc:spChg chg="mod">
          <ac:chgData name="Ryan Littlemore" userId="e455dac8-f9aa-4cf6-ad37-fb5765c604eb" providerId="ADAL" clId="{0AD909D7-14AA-4BB4-B377-B4ABF8EB9395}" dt="2019-07-25T13:48:48.301" v="406" actId="20577"/>
          <ac:spMkLst>
            <pc:docMk/>
            <pc:sldMk cId="2965548729" sldId="546"/>
            <ac:spMk id="10" creationId="{1B800DE3-CF57-4603-8854-4529CC0A5DD9}"/>
          </ac:spMkLst>
        </pc:spChg>
      </pc:sldChg>
    </pc:docChg>
  </pc:docChgLst>
  <pc:docChgLst>
    <pc:chgData name="Ryan" userId="e455dac8-f9aa-4cf6-ad37-fb5765c604eb" providerId="ADAL" clId="{6A23A91F-C7BB-4FB5-80B8-AD09A055581D}"/>
    <pc:docChg chg="custSel modSld">
      <pc:chgData name="Ryan" userId="e455dac8-f9aa-4cf6-ad37-fb5765c604eb" providerId="ADAL" clId="{6A23A91F-C7BB-4FB5-80B8-AD09A055581D}" dt="2020-03-25T19:23:24.999" v="0" actId="27636"/>
      <pc:docMkLst>
        <pc:docMk/>
      </pc:docMkLst>
      <pc:sldChg chg="modSp mod">
        <pc:chgData name="Ryan" userId="e455dac8-f9aa-4cf6-ad37-fb5765c604eb" providerId="ADAL" clId="{6A23A91F-C7BB-4FB5-80B8-AD09A055581D}" dt="2020-03-25T19:23:24.999" v="0" actId="27636"/>
        <pc:sldMkLst>
          <pc:docMk/>
          <pc:sldMk cId="1826063434" sldId="260"/>
        </pc:sldMkLst>
        <pc:spChg chg="mod">
          <ac:chgData name="Ryan" userId="e455dac8-f9aa-4cf6-ad37-fb5765c604eb" providerId="ADAL" clId="{6A23A91F-C7BB-4FB5-80B8-AD09A055581D}" dt="2020-03-25T19:23:24.999" v="0" actId="27636"/>
          <ac:spMkLst>
            <pc:docMk/>
            <pc:sldMk cId="1826063434" sldId="260"/>
            <ac:spMk id="3" creationId="{FB77A8A2-BD64-4C21-977E-EAC2AC092B8D}"/>
          </ac:spMkLst>
        </pc:spChg>
      </pc:sldChg>
    </pc:docChg>
  </pc:docChgLst>
  <pc:docChgLst>
    <pc:chgData name="Jack Tracey" userId="98dee47e-7932-4ede-ad91-867e883fbe46" providerId="ADAL" clId="{96135FF5-8682-4276-8D8A-7BE92D717E14}"/>
    <pc:docChg chg="undo custSel addSld delSld modSld">
      <pc:chgData name="Jack Tracey" userId="98dee47e-7932-4ede-ad91-867e883fbe46" providerId="ADAL" clId="{96135FF5-8682-4276-8D8A-7BE92D717E14}" dt="2020-03-25T18:06:33.209" v="1056" actId="1076"/>
      <pc:docMkLst>
        <pc:docMk/>
      </pc:docMkLst>
      <pc:sldChg chg="modSp">
        <pc:chgData name="Jack Tracey" userId="98dee47e-7932-4ede-ad91-867e883fbe46" providerId="ADAL" clId="{96135FF5-8682-4276-8D8A-7BE92D717E14}" dt="2020-03-25T17:20:41.937" v="1" actId="27636"/>
        <pc:sldMkLst>
          <pc:docMk/>
          <pc:sldMk cId="1826063434" sldId="260"/>
        </pc:sldMkLst>
        <pc:spChg chg="mod">
          <ac:chgData name="Jack Tracey" userId="98dee47e-7932-4ede-ad91-867e883fbe46" providerId="ADAL" clId="{96135FF5-8682-4276-8D8A-7BE92D717E14}" dt="2020-03-25T17:20:41.937" v="1" actId="27636"/>
          <ac:spMkLst>
            <pc:docMk/>
            <pc:sldMk cId="1826063434" sldId="260"/>
            <ac:spMk id="3" creationId="{FB77A8A2-BD64-4C21-977E-EAC2AC092B8D}"/>
          </ac:spMkLst>
        </pc:spChg>
      </pc:sldChg>
      <pc:sldChg chg="addSp delSp modSp">
        <pc:chgData name="Jack Tracey" userId="98dee47e-7932-4ede-ad91-867e883fbe46" providerId="ADAL" clId="{96135FF5-8682-4276-8D8A-7BE92D717E14}" dt="2020-03-25T18:05:59.955" v="1054" actId="20577"/>
        <pc:sldMkLst>
          <pc:docMk/>
          <pc:sldMk cId="2323985547" sldId="507"/>
        </pc:sldMkLst>
        <pc:spChg chg="mod">
          <ac:chgData name="Jack Tracey" userId="98dee47e-7932-4ede-ad91-867e883fbe46" providerId="ADAL" clId="{96135FF5-8682-4276-8D8A-7BE92D717E14}" dt="2020-03-25T18:05:59.955" v="1054" actId="20577"/>
          <ac:spMkLst>
            <pc:docMk/>
            <pc:sldMk cId="2323985547" sldId="507"/>
            <ac:spMk id="31" creationId="{89E4F5E5-661B-4968-86C4-527F2600534E}"/>
          </ac:spMkLst>
        </pc:spChg>
        <pc:picChg chg="add mod">
          <ac:chgData name="Jack Tracey" userId="98dee47e-7932-4ede-ad91-867e883fbe46" providerId="ADAL" clId="{96135FF5-8682-4276-8D8A-7BE92D717E14}" dt="2020-03-25T18:03:39.203" v="1011" actId="1076"/>
          <ac:picMkLst>
            <pc:docMk/>
            <pc:sldMk cId="2323985547" sldId="507"/>
            <ac:picMk id="5" creationId="{E109AAEB-E0B7-4A5A-8270-5F97DDE87AE6}"/>
          </ac:picMkLst>
        </pc:picChg>
        <pc:picChg chg="del">
          <ac:chgData name="Jack Tracey" userId="98dee47e-7932-4ede-ad91-867e883fbe46" providerId="ADAL" clId="{96135FF5-8682-4276-8D8A-7BE92D717E14}" dt="2020-03-25T17:39:52.182" v="466" actId="478"/>
          <ac:picMkLst>
            <pc:docMk/>
            <pc:sldMk cId="2323985547" sldId="507"/>
            <ac:picMk id="7" creationId="{542CD38F-8439-4F00-854D-57516F8638C5}"/>
          </ac:picMkLst>
        </pc:picChg>
        <pc:picChg chg="mod">
          <ac:chgData name="Jack Tracey" userId="98dee47e-7932-4ede-ad91-867e883fbe46" providerId="ADAL" clId="{96135FF5-8682-4276-8D8A-7BE92D717E14}" dt="2020-03-25T18:03:03.614" v="1004" actId="1076"/>
          <ac:picMkLst>
            <pc:docMk/>
            <pc:sldMk cId="2323985547" sldId="507"/>
            <ac:picMk id="8" creationId="{9C5DB219-88C6-4F98-96AE-DD5C84B29658}"/>
          </ac:picMkLst>
        </pc:picChg>
        <pc:picChg chg="add mod">
          <ac:chgData name="Jack Tracey" userId="98dee47e-7932-4ede-ad91-867e883fbe46" providerId="ADAL" clId="{96135FF5-8682-4276-8D8A-7BE92D717E14}" dt="2020-03-25T17:39:59.386" v="469" actId="14100"/>
          <ac:picMkLst>
            <pc:docMk/>
            <pc:sldMk cId="2323985547" sldId="507"/>
            <ac:picMk id="2050" creationId="{65DE9B54-AF7A-4ABB-9553-4961D742EC21}"/>
          </ac:picMkLst>
        </pc:picChg>
      </pc:sldChg>
      <pc:sldChg chg="modSp">
        <pc:chgData name="Jack Tracey" userId="98dee47e-7932-4ede-ad91-867e883fbe46" providerId="ADAL" clId="{96135FF5-8682-4276-8D8A-7BE92D717E14}" dt="2020-03-25T17:35:00.143" v="391" actId="1076"/>
        <pc:sldMkLst>
          <pc:docMk/>
          <pc:sldMk cId="1620967048" sldId="539"/>
        </pc:sldMkLst>
        <pc:spChg chg="mod">
          <ac:chgData name="Jack Tracey" userId="98dee47e-7932-4ede-ad91-867e883fbe46" providerId="ADAL" clId="{96135FF5-8682-4276-8D8A-7BE92D717E14}" dt="2020-03-25T17:35:00.143" v="391" actId="1076"/>
          <ac:spMkLst>
            <pc:docMk/>
            <pc:sldMk cId="1620967048" sldId="539"/>
            <ac:spMk id="10" creationId="{1B800DE3-CF57-4603-8854-4529CC0A5DD9}"/>
          </ac:spMkLst>
        </pc:spChg>
      </pc:sldChg>
      <pc:sldChg chg="modSp modAnim">
        <pc:chgData name="Jack Tracey" userId="98dee47e-7932-4ede-ad91-867e883fbe46" providerId="ADAL" clId="{96135FF5-8682-4276-8D8A-7BE92D717E14}" dt="2020-03-25T18:06:33.209" v="1056" actId="1076"/>
        <pc:sldMkLst>
          <pc:docMk/>
          <pc:sldMk cId="3679143134" sldId="541"/>
        </pc:sldMkLst>
        <pc:spChg chg="mod">
          <ac:chgData name="Jack Tracey" userId="98dee47e-7932-4ede-ad91-867e883fbe46" providerId="ADAL" clId="{96135FF5-8682-4276-8D8A-7BE92D717E14}" dt="2020-03-25T18:06:33.209" v="1056" actId="1076"/>
          <ac:spMkLst>
            <pc:docMk/>
            <pc:sldMk cId="3679143134" sldId="541"/>
            <ac:spMk id="10" creationId="{1B800DE3-CF57-4603-8854-4529CC0A5DD9}"/>
          </ac:spMkLst>
        </pc:spChg>
      </pc:sldChg>
      <pc:sldChg chg="modSp modAnim">
        <pc:chgData name="Jack Tracey" userId="98dee47e-7932-4ede-ad91-867e883fbe46" providerId="ADAL" clId="{96135FF5-8682-4276-8D8A-7BE92D717E14}" dt="2020-03-25T18:05:23.164" v="1047" actId="1076"/>
        <pc:sldMkLst>
          <pc:docMk/>
          <pc:sldMk cId="2714039227" sldId="543"/>
        </pc:sldMkLst>
        <pc:spChg chg="mod">
          <ac:chgData name="Jack Tracey" userId="98dee47e-7932-4ede-ad91-867e883fbe46" providerId="ADAL" clId="{96135FF5-8682-4276-8D8A-7BE92D717E14}" dt="2020-03-25T18:03:50.728" v="1012" actId="20577"/>
          <ac:spMkLst>
            <pc:docMk/>
            <pc:sldMk cId="2714039227" sldId="543"/>
            <ac:spMk id="2" creationId="{39233361-26D1-4118-99CB-A5545E724B8F}"/>
          </ac:spMkLst>
        </pc:spChg>
        <pc:picChg chg="mod">
          <ac:chgData name="Jack Tracey" userId="98dee47e-7932-4ede-ad91-867e883fbe46" providerId="ADAL" clId="{96135FF5-8682-4276-8D8A-7BE92D717E14}" dt="2020-03-25T18:05:23.164" v="1047" actId="1076"/>
          <ac:picMkLst>
            <pc:docMk/>
            <pc:sldMk cId="2714039227" sldId="543"/>
            <ac:picMk id="3" creationId="{52ED5EC1-37C7-41F6-8FB2-3AA3C4EC3A61}"/>
          </ac:picMkLst>
        </pc:picChg>
      </pc:sldChg>
      <pc:sldChg chg="addSp modSp modAnim">
        <pc:chgData name="Jack Tracey" userId="98dee47e-7932-4ede-ad91-867e883fbe46" providerId="ADAL" clId="{96135FF5-8682-4276-8D8A-7BE92D717E14}" dt="2020-03-25T17:43:26.847" v="506"/>
        <pc:sldMkLst>
          <pc:docMk/>
          <pc:sldMk cId="670043725" sldId="556"/>
        </pc:sldMkLst>
        <pc:spChg chg="add mod">
          <ac:chgData name="Jack Tracey" userId="98dee47e-7932-4ede-ad91-867e883fbe46" providerId="ADAL" clId="{96135FF5-8682-4276-8D8A-7BE92D717E14}" dt="2020-03-25T17:32:25.051" v="367" actId="403"/>
          <ac:spMkLst>
            <pc:docMk/>
            <pc:sldMk cId="670043725" sldId="556"/>
            <ac:spMk id="3" creationId="{35ECDD83-C749-4A4F-B8C8-519B0A99093A}"/>
          </ac:spMkLst>
        </pc:spChg>
        <pc:graphicFrameChg chg="mod modGraphic">
          <ac:chgData name="Jack Tracey" userId="98dee47e-7932-4ede-ad91-867e883fbe46" providerId="ADAL" clId="{96135FF5-8682-4276-8D8A-7BE92D717E14}" dt="2020-03-25T17:43:15.902" v="504" actId="120"/>
          <ac:graphicFrameMkLst>
            <pc:docMk/>
            <pc:sldMk cId="670043725" sldId="556"/>
            <ac:graphicFrameMk id="2" creationId="{A8326A8E-B529-4FF3-BBC6-FDC472DE49B8}"/>
          </ac:graphicFrameMkLst>
        </pc:graphicFrameChg>
        <pc:picChg chg="add mod">
          <ac:chgData name="Jack Tracey" userId="98dee47e-7932-4ede-ad91-867e883fbe46" providerId="ADAL" clId="{96135FF5-8682-4276-8D8A-7BE92D717E14}" dt="2020-03-25T17:43:11.861" v="503" actId="1076"/>
          <ac:picMkLst>
            <pc:docMk/>
            <pc:sldMk cId="670043725" sldId="556"/>
            <ac:picMk id="7" creationId="{DBE1AE99-92C1-4585-AC33-38C01FF68490}"/>
          </ac:picMkLst>
        </pc:picChg>
      </pc:sldChg>
      <pc:sldChg chg="addSp delSp modSp delAnim modAnim">
        <pc:chgData name="Jack Tracey" userId="98dee47e-7932-4ede-ad91-867e883fbe46" providerId="ADAL" clId="{96135FF5-8682-4276-8D8A-7BE92D717E14}" dt="2020-03-25T18:05:45.037" v="1053"/>
        <pc:sldMkLst>
          <pc:docMk/>
          <pc:sldMk cId="2711889897" sldId="557"/>
        </pc:sldMkLst>
        <pc:spChg chg="add del mod">
          <ac:chgData name="Jack Tracey" userId="98dee47e-7932-4ede-ad91-867e883fbe46" providerId="ADAL" clId="{96135FF5-8682-4276-8D8A-7BE92D717E14}" dt="2020-03-25T17:41:11.794" v="475" actId="478"/>
          <ac:spMkLst>
            <pc:docMk/>
            <pc:sldMk cId="2711889897" sldId="557"/>
            <ac:spMk id="7" creationId="{A468A45E-A8B3-4ED5-BBF5-9C25E23FE71F}"/>
          </ac:spMkLst>
        </pc:spChg>
        <pc:spChg chg="mod">
          <ac:chgData name="Jack Tracey" userId="98dee47e-7932-4ede-ad91-867e883fbe46" providerId="ADAL" clId="{96135FF5-8682-4276-8D8A-7BE92D717E14}" dt="2020-03-25T17:42:16.326" v="489" actId="1076"/>
          <ac:spMkLst>
            <pc:docMk/>
            <pc:sldMk cId="2711889897" sldId="557"/>
            <ac:spMk id="10" creationId="{1B800DE3-CF57-4603-8854-4529CC0A5DD9}"/>
          </ac:spMkLst>
        </pc:spChg>
        <pc:picChg chg="add mod">
          <ac:chgData name="Jack Tracey" userId="98dee47e-7932-4ede-ad91-867e883fbe46" providerId="ADAL" clId="{96135FF5-8682-4276-8D8A-7BE92D717E14}" dt="2020-03-25T17:41:36.331" v="488" actId="1076"/>
          <ac:picMkLst>
            <pc:docMk/>
            <pc:sldMk cId="2711889897" sldId="557"/>
            <ac:picMk id="3074" creationId="{EEB40342-0BE4-44D7-9287-3D2AF6993F45}"/>
          </ac:picMkLst>
        </pc:picChg>
      </pc:sldChg>
      <pc:sldChg chg="addSp delSp modSp add modAnim">
        <pc:chgData name="Jack Tracey" userId="98dee47e-7932-4ede-ad91-867e883fbe46" providerId="ADAL" clId="{96135FF5-8682-4276-8D8A-7BE92D717E14}" dt="2020-03-25T17:57:43.438" v="1003"/>
        <pc:sldMkLst>
          <pc:docMk/>
          <pc:sldMk cId="2070427391" sldId="558"/>
        </pc:sldMkLst>
        <pc:spChg chg="mod">
          <ac:chgData name="Jack Tracey" userId="98dee47e-7932-4ede-ad91-867e883fbe46" providerId="ADAL" clId="{96135FF5-8682-4276-8D8A-7BE92D717E14}" dt="2020-03-25T17:47:18.164" v="643" actId="14100"/>
          <ac:spMkLst>
            <pc:docMk/>
            <pc:sldMk cId="2070427391" sldId="558"/>
            <ac:spMk id="8" creationId="{022A2DF9-416C-4715-A4CE-B77A82E740E9}"/>
          </ac:spMkLst>
        </pc:spChg>
        <pc:spChg chg="mod">
          <ac:chgData name="Jack Tracey" userId="98dee47e-7932-4ede-ad91-867e883fbe46" providerId="ADAL" clId="{96135FF5-8682-4276-8D8A-7BE92D717E14}" dt="2020-03-25T17:47:28.583" v="658" actId="20577"/>
          <ac:spMkLst>
            <pc:docMk/>
            <pc:sldMk cId="2070427391" sldId="558"/>
            <ac:spMk id="9" creationId="{2448901E-48B7-4417-BBB0-4E51F689A76D}"/>
          </ac:spMkLst>
        </pc:spChg>
        <pc:spChg chg="mod">
          <ac:chgData name="Jack Tracey" userId="98dee47e-7932-4ede-ad91-867e883fbe46" providerId="ADAL" clId="{96135FF5-8682-4276-8D8A-7BE92D717E14}" dt="2020-03-25T17:52:15.784" v="997" actId="122"/>
          <ac:spMkLst>
            <pc:docMk/>
            <pc:sldMk cId="2070427391" sldId="558"/>
            <ac:spMk id="10" creationId="{1B800DE3-CF57-4603-8854-4529CC0A5DD9}"/>
          </ac:spMkLst>
        </pc:spChg>
        <pc:picChg chg="add del">
          <ac:chgData name="Jack Tracey" userId="98dee47e-7932-4ede-ad91-867e883fbe46" providerId="ADAL" clId="{96135FF5-8682-4276-8D8A-7BE92D717E14}" dt="2020-03-25T17:48:32.235" v="816"/>
          <ac:picMkLst>
            <pc:docMk/>
            <pc:sldMk cId="2070427391" sldId="558"/>
            <ac:picMk id="6" creationId="{ED57606A-DD6E-4915-8888-C160E8DD06CE}"/>
          </ac:picMkLst>
        </pc:picChg>
        <pc:picChg chg="add mod">
          <ac:chgData name="Jack Tracey" userId="98dee47e-7932-4ede-ad91-867e883fbe46" providerId="ADAL" clId="{96135FF5-8682-4276-8D8A-7BE92D717E14}" dt="2020-03-25T17:51:49.126" v="986" actId="1076"/>
          <ac:picMkLst>
            <pc:docMk/>
            <pc:sldMk cId="2070427391" sldId="558"/>
            <ac:picMk id="4098" creationId="{9DAE4B79-0F3F-44B2-8ED8-28086121E571}"/>
          </ac:picMkLst>
        </pc:picChg>
      </pc:sldChg>
      <pc:sldChg chg="modSp add del">
        <pc:chgData name="Jack Tracey" userId="98dee47e-7932-4ede-ad91-867e883fbe46" providerId="ADAL" clId="{96135FF5-8682-4276-8D8A-7BE92D717E14}" dt="2020-03-25T17:43:53.911" v="510" actId="47"/>
        <pc:sldMkLst>
          <pc:docMk/>
          <pc:sldMk cId="3855788821" sldId="558"/>
        </pc:sldMkLst>
        <pc:spChg chg="mod">
          <ac:chgData name="Jack Tracey" userId="98dee47e-7932-4ede-ad91-867e883fbe46" providerId="ADAL" clId="{96135FF5-8682-4276-8D8A-7BE92D717E14}" dt="2020-03-25T17:43:52.635" v="508" actId="27636"/>
          <ac:spMkLst>
            <pc:docMk/>
            <pc:sldMk cId="3855788821" sldId="558"/>
            <ac:spMk id="3" creationId="{50A11E46-C993-41BE-840F-58B064FF27EA}"/>
          </ac:spMkLst>
        </pc:spChg>
        <pc:spChg chg="mod">
          <ac:chgData name="Jack Tracey" userId="98dee47e-7932-4ede-ad91-867e883fbe46" providerId="ADAL" clId="{96135FF5-8682-4276-8D8A-7BE92D717E14}" dt="2020-03-25T17:43:52.651" v="509" actId="27636"/>
          <ac:spMkLst>
            <pc:docMk/>
            <pc:sldMk cId="3855788821" sldId="558"/>
            <ac:spMk id="4" creationId="{151F41C7-E0FE-45A1-8B96-39E7BBA1CE5A}"/>
          </ac:spMkLst>
        </pc:spChg>
      </pc:sldChg>
    </pc:docChg>
  </pc:docChgLst>
  <pc:docChgLst>
    <pc:chgData name="Jack Tracey" userId="98dee47e-7932-4ede-ad91-867e883fbe46" providerId="ADAL" clId="{090785AB-5754-4084-A821-0DCC1536D9DF}"/>
    <pc:docChg chg="undo custSel addSld delSld modSld sldOrd addSection modSection">
      <pc:chgData name="Jack Tracey" userId="98dee47e-7932-4ede-ad91-867e883fbe46" providerId="ADAL" clId="{090785AB-5754-4084-A821-0DCC1536D9DF}" dt="2019-11-27T16:33:24.586" v="8886" actId="14100"/>
      <pc:docMkLst>
        <pc:docMk/>
      </pc:docMkLst>
      <pc:sldChg chg="addSp delSp modSp add del modTransition">
        <pc:chgData name="Jack Tracey" userId="98dee47e-7932-4ede-ad91-867e883fbe46" providerId="ADAL" clId="{090785AB-5754-4084-A821-0DCC1536D9DF}" dt="2019-11-24T15:25:37.321" v="8871"/>
        <pc:sldMkLst>
          <pc:docMk/>
          <pc:sldMk cId="2432667940" sldId="256"/>
        </pc:sldMkLst>
        <pc:spChg chg="del">
          <ac:chgData name="Jack Tracey" userId="98dee47e-7932-4ede-ad91-867e883fbe46" providerId="ADAL" clId="{090785AB-5754-4084-A821-0DCC1536D9DF}" dt="2019-11-23T15:33:38.446" v="7067" actId="478"/>
          <ac:spMkLst>
            <pc:docMk/>
            <pc:sldMk cId="2432667940" sldId="256"/>
            <ac:spMk id="22" creationId="{99BC0C7D-0B95-4DA1-91B6-3311C2FE4D4B}"/>
          </ac:spMkLst>
        </pc:spChg>
        <pc:spChg chg="add del">
          <ac:chgData name="Jack Tracey" userId="98dee47e-7932-4ede-ad91-867e883fbe46" providerId="ADAL" clId="{090785AB-5754-4084-A821-0DCC1536D9DF}" dt="2019-11-23T15:33:43.635" v="7071"/>
          <ac:spMkLst>
            <pc:docMk/>
            <pc:sldMk cId="2432667940" sldId="256"/>
            <ac:spMk id="28" creationId="{EFE0F7B0-D517-4653-99F0-AB5EF2224959}"/>
          </ac:spMkLst>
        </pc:spChg>
        <pc:spChg chg="add del">
          <ac:chgData name="Jack Tracey" userId="98dee47e-7932-4ede-ad91-867e883fbe46" providerId="ADAL" clId="{090785AB-5754-4084-A821-0DCC1536D9DF}" dt="2019-11-23T15:33:43.635" v="7071"/>
          <ac:spMkLst>
            <pc:docMk/>
            <pc:sldMk cId="2432667940" sldId="256"/>
            <ac:spMk id="29" creationId="{14C6128D-6CA9-43FA-B457-5BA859C78E50}"/>
          </ac:spMkLst>
        </pc:spChg>
        <pc:spChg chg="mod">
          <ac:chgData name="Jack Tracey" userId="98dee47e-7932-4ede-ad91-867e883fbe46" providerId="ADAL" clId="{090785AB-5754-4084-A821-0DCC1536D9DF}" dt="2019-11-23T15:55:14.745" v="7129" actId="1038"/>
          <ac:spMkLst>
            <pc:docMk/>
            <pc:sldMk cId="2432667940" sldId="256"/>
            <ac:spMk id="30" creationId="{6FD84A9A-8AA8-4508-B8D0-006364990923}"/>
          </ac:spMkLst>
        </pc:spChg>
        <pc:spChg chg="add">
          <ac:chgData name="Jack Tracey" userId="98dee47e-7932-4ede-ad91-867e883fbe46" providerId="ADAL" clId="{090785AB-5754-4084-A821-0DCC1536D9DF}" dt="2019-11-23T15:33:43.638" v="7072"/>
          <ac:spMkLst>
            <pc:docMk/>
            <pc:sldMk cId="2432667940" sldId="256"/>
            <ac:spMk id="34" creationId="{47D0ACE0-1FB6-4BDD-A8E8-55B29446FED0}"/>
          </ac:spMkLst>
        </pc:spChg>
        <pc:spChg chg="add mod">
          <ac:chgData name="Jack Tracey" userId="98dee47e-7932-4ede-ad91-867e883fbe46" providerId="ADAL" clId="{090785AB-5754-4084-A821-0DCC1536D9DF}" dt="2019-11-23T15:33:50.059" v="7089" actId="20577"/>
          <ac:spMkLst>
            <pc:docMk/>
            <pc:sldMk cId="2432667940" sldId="256"/>
            <ac:spMk id="35" creationId="{33F9077A-B766-454B-BDCB-F02396E21F7E}"/>
          </ac:spMkLst>
        </pc:spChg>
        <pc:picChg chg="add">
          <ac:chgData name="Jack Tracey" userId="98dee47e-7932-4ede-ad91-867e883fbe46" providerId="ADAL" clId="{090785AB-5754-4084-A821-0DCC1536D9DF}" dt="2019-11-23T16:05:56.912" v="7232"/>
          <ac:picMkLst>
            <pc:docMk/>
            <pc:sldMk cId="2432667940" sldId="256"/>
            <ac:picMk id="36" creationId="{A69289DF-4366-4388-A4FC-FC3D5179FCB4}"/>
          </ac:picMkLst>
        </pc:picChg>
      </pc:sldChg>
      <pc:sldChg chg="del modTransition">
        <pc:chgData name="Jack Tracey" userId="98dee47e-7932-4ede-ad91-867e883fbe46" providerId="ADAL" clId="{090785AB-5754-4084-A821-0DCC1536D9DF}" dt="2019-11-22T11:40:10.651" v="452" actId="2696"/>
        <pc:sldMkLst>
          <pc:docMk/>
          <pc:sldMk cId="440760351" sldId="258"/>
        </pc:sldMkLst>
      </pc:sldChg>
      <pc:sldChg chg="modSp modTransition modAnim">
        <pc:chgData name="Jack Tracey" userId="98dee47e-7932-4ede-ad91-867e883fbe46" providerId="ADAL" clId="{090785AB-5754-4084-A821-0DCC1536D9DF}" dt="2019-11-24T15:25:37.321" v="8871"/>
        <pc:sldMkLst>
          <pc:docMk/>
          <pc:sldMk cId="1826063434" sldId="260"/>
        </pc:sldMkLst>
        <pc:spChg chg="mod">
          <ac:chgData name="Jack Tracey" userId="98dee47e-7932-4ede-ad91-867e883fbe46" providerId="ADAL" clId="{090785AB-5754-4084-A821-0DCC1536D9DF}" dt="2019-11-22T11:32:21.619" v="15" actId="27636"/>
          <ac:spMkLst>
            <pc:docMk/>
            <pc:sldMk cId="1826063434" sldId="260"/>
            <ac:spMk id="3" creationId="{FB77A8A2-BD64-4C21-977E-EAC2AC092B8D}"/>
          </ac:spMkLst>
        </pc:spChg>
      </pc:sldChg>
      <pc:sldChg chg="addSp delSp modSp ord modTransition modNotes">
        <pc:chgData name="Jack Tracey" userId="98dee47e-7932-4ede-ad91-867e883fbe46" providerId="ADAL" clId="{090785AB-5754-4084-A821-0DCC1536D9DF}" dt="2019-11-24T15:25:37.321" v="8871"/>
        <pc:sldMkLst>
          <pc:docMk/>
          <pc:sldMk cId="1916670557" sldId="268"/>
        </pc:sldMkLst>
        <pc:spChg chg="del">
          <ac:chgData name="Jack Tracey" userId="98dee47e-7932-4ede-ad91-867e883fbe46" providerId="ADAL" clId="{090785AB-5754-4084-A821-0DCC1536D9DF}" dt="2019-11-23T16:29:47.634" v="7329" actId="478"/>
          <ac:spMkLst>
            <pc:docMk/>
            <pc:sldMk cId="1916670557" sldId="268"/>
            <ac:spMk id="3" creationId="{E493A048-12AB-4C82-BC58-84CCBDD8ED63}"/>
          </ac:spMkLst>
        </pc:spChg>
        <pc:spChg chg="add del mod">
          <ac:chgData name="Jack Tracey" userId="98dee47e-7932-4ede-ad91-867e883fbe46" providerId="ADAL" clId="{090785AB-5754-4084-A821-0DCC1536D9DF}" dt="2019-11-23T16:29:51.154" v="7330" actId="478"/>
          <ac:spMkLst>
            <pc:docMk/>
            <pc:sldMk cId="1916670557" sldId="268"/>
            <ac:spMk id="5" creationId="{75ED04F6-8B58-438D-877F-D52DD3723F12}"/>
          </ac:spMkLst>
        </pc:spChg>
        <pc:spChg chg="mod">
          <ac:chgData name="Jack Tracey" userId="98dee47e-7932-4ede-ad91-867e883fbe46" providerId="ADAL" clId="{090785AB-5754-4084-A821-0DCC1536D9DF}" dt="2019-11-23T16:30:17.527" v="7333" actId="1076"/>
          <ac:spMkLst>
            <pc:docMk/>
            <pc:sldMk cId="1916670557" sldId="268"/>
            <ac:spMk id="105" creationId="{ED7F643B-AC1B-4479-B4F0-03950CA08131}"/>
          </ac:spMkLst>
        </pc:spChg>
        <pc:spChg chg="add">
          <ac:chgData name="Jack Tracey" userId="98dee47e-7932-4ede-ad91-867e883fbe46" providerId="ADAL" clId="{090785AB-5754-4084-A821-0DCC1536D9DF}" dt="2019-11-23T16:29:52.428" v="7331"/>
          <ac:spMkLst>
            <pc:docMk/>
            <pc:sldMk cId="1916670557" sldId="268"/>
            <ac:spMk id="106" creationId="{EFACCC16-97F0-4FCF-B8D1-99DCE9C65887}"/>
          </ac:spMkLst>
        </pc:spChg>
        <pc:spChg chg="add mod">
          <ac:chgData name="Jack Tracey" userId="98dee47e-7932-4ede-ad91-867e883fbe46" providerId="ADAL" clId="{090785AB-5754-4084-A821-0DCC1536D9DF}" dt="2019-11-23T16:30:21.869" v="7336" actId="20577"/>
          <ac:spMkLst>
            <pc:docMk/>
            <pc:sldMk cId="1916670557" sldId="268"/>
            <ac:spMk id="107" creationId="{CA32BEC3-54D5-484F-85F3-69035B16FBF6}"/>
          </ac:spMkLst>
        </pc:spChg>
        <pc:grpChg chg="mod">
          <ac:chgData name="Jack Tracey" userId="98dee47e-7932-4ede-ad91-867e883fbe46" providerId="ADAL" clId="{090785AB-5754-4084-A821-0DCC1536D9DF}" dt="2019-11-23T16:30:03.742" v="7332" actId="1076"/>
          <ac:grpSpMkLst>
            <pc:docMk/>
            <pc:sldMk cId="1916670557" sldId="268"/>
            <ac:grpSpMk id="63" creationId="{9C4D64E3-9F39-4EAE-AD3B-F09A1BFB8164}"/>
          </ac:grpSpMkLst>
        </pc:grpChg>
        <pc:grpChg chg="mod">
          <ac:chgData name="Jack Tracey" userId="98dee47e-7932-4ede-ad91-867e883fbe46" providerId="ADAL" clId="{090785AB-5754-4084-A821-0DCC1536D9DF}" dt="2019-11-23T16:30:03.742" v="7332" actId="1076"/>
          <ac:grpSpMkLst>
            <pc:docMk/>
            <pc:sldMk cId="1916670557" sldId="268"/>
            <ac:grpSpMk id="68" creationId="{83F41735-AB35-40E3-A5E7-258388E9CEB6}"/>
          </ac:grpSpMkLst>
        </pc:grpChg>
        <pc:grpChg chg="mod">
          <ac:chgData name="Jack Tracey" userId="98dee47e-7932-4ede-ad91-867e883fbe46" providerId="ADAL" clId="{090785AB-5754-4084-A821-0DCC1536D9DF}" dt="2019-11-23T16:30:03.742" v="7332" actId="1076"/>
          <ac:grpSpMkLst>
            <pc:docMk/>
            <pc:sldMk cId="1916670557" sldId="268"/>
            <ac:grpSpMk id="69" creationId="{E0D11CF7-EB06-4441-A27A-EEEE4113F2D9}"/>
          </ac:grpSpMkLst>
        </pc:grpChg>
        <pc:grpChg chg="mod">
          <ac:chgData name="Jack Tracey" userId="98dee47e-7932-4ede-ad91-867e883fbe46" providerId="ADAL" clId="{090785AB-5754-4084-A821-0DCC1536D9DF}" dt="2019-11-23T16:30:03.742" v="7332" actId="1076"/>
          <ac:grpSpMkLst>
            <pc:docMk/>
            <pc:sldMk cId="1916670557" sldId="268"/>
            <ac:grpSpMk id="74" creationId="{9C1B3372-781E-4E39-BECD-00671DF40C2A}"/>
          </ac:grpSpMkLst>
        </pc:grpChg>
        <pc:grpChg chg="mod">
          <ac:chgData name="Jack Tracey" userId="98dee47e-7932-4ede-ad91-867e883fbe46" providerId="ADAL" clId="{090785AB-5754-4084-A821-0DCC1536D9DF}" dt="2019-11-23T16:30:03.742" v="7332" actId="1076"/>
          <ac:grpSpMkLst>
            <pc:docMk/>
            <pc:sldMk cId="1916670557" sldId="268"/>
            <ac:grpSpMk id="96" creationId="{BBD79BB6-914A-4204-896D-3298B400D8AC}"/>
          </ac:grpSpMkLst>
        </pc:grpChg>
        <pc:grpChg chg="mod">
          <ac:chgData name="Jack Tracey" userId="98dee47e-7932-4ede-ad91-867e883fbe46" providerId="ADAL" clId="{090785AB-5754-4084-A821-0DCC1536D9DF}" dt="2019-11-23T16:30:03.742" v="7332" actId="1076"/>
          <ac:grpSpMkLst>
            <pc:docMk/>
            <pc:sldMk cId="1916670557" sldId="268"/>
            <ac:grpSpMk id="102" creationId="{09924D87-2F16-4B17-80FD-A6F3B88EF8B2}"/>
          </ac:grpSpMkLst>
        </pc:grpChg>
        <pc:picChg chg="add">
          <ac:chgData name="Jack Tracey" userId="98dee47e-7932-4ede-ad91-867e883fbe46" providerId="ADAL" clId="{090785AB-5754-4084-A821-0DCC1536D9DF}" dt="2019-11-23T16:29:52.428" v="7331"/>
          <ac:picMkLst>
            <pc:docMk/>
            <pc:sldMk cId="1916670557" sldId="268"/>
            <ac:picMk id="108" creationId="{93054553-3E20-43DC-9ED8-0F4621B7B68B}"/>
          </ac:picMkLst>
        </pc:picChg>
      </pc:sldChg>
      <pc:sldChg chg="addSp delSp modSp add del modTransition modNotes modNotesTx">
        <pc:chgData name="Jack Tracey" userId="98dee47e-7932-4ede-ad91-867e883fbe46" providerId="ADAL" clId="{090785AB-5754-4084-A821-0DCC1536D9DF}" dt="2019-11-24T15:25:37.321" v="8871"/>
        <pc:sldMkLst>
          <pc:docMk/>
          <pc:sldMk cId="1710494087" sldId="329"/>
        </pc:sldMkLst>
        <pc:spChg chg="del">
          <ac:chgData name="Jack Tracey" userId="98dee47e-7932-4ede-ad91-867e883fbe46" providerId="ADAL" clId="{090785AB-5754-4084-A821-0DCC1536D9DF}" dt="2019-11-23T16:28:17.606" v="7302" actId="478"/>
          <ac:spMkLst>
            <pc:docMk/>
            <pc:sldMk cId="1710494087" sldId="329"/>
            <ac:spMk id="2" creationId="{31BE3EA6-0C83-4986-9ED2-D14C04F3CB15}"/>
          </ac:spMkLst>
        </pc:spChg>
        <pc:spChg chg="add del mod">
          <ac:chgData name="Jack Tracey" userId="98dee47e-7932-4ede-ad91-867e883fbe46" providerId="ADAL" clId="{090785AB-5754-4084-A821-0DCC1536D9DF}" dt="2019-11-23T16:28:28.161" v="7303" actId="478"/>
          <ac:spMkLst>
            <pc:docMk/>
            <pc:sldMk cId="1710494087" sldId="329"/>
            <ac:spMk id="16" creationId="{6A9A73D8-88EB-4AAE-897A-C75B6D3E1F7F}"/>
          </ac:spMkLst>
        </pc:spChg>
        <pc:spChg chg="add mod">
          <ac:chgData name="Jack Tracey" userId="98dee47e-7932-4ede-ad91-867e883fbe46" providerId="ADAL" clId="{090785AB-5754-4084-A821-0DCC1536D9DF}" dt="2019-11-23T16:29:38.303" v="7328" actId="14100"/>
          <ac:spMkLst>
            <pc:docMk/>
            <pc:sldMk cId="1710494087" sldId="329"/>
            <ac:spMk id="195" creationId="{F2AFE908-613F-4B7B-9CE6-F76CCE0CB985}"/>
          </ac:spMkLst>
        </pc:spChg>
        <pc:spChg chg="add mod">
          <ac:chgData name="Jack Tracey" userId="98dee47e-7932-4ede-ad91-867e883fbe46" providerId="ADAL" clId="{090785AB-5754-4084-A821-0DCC1536D9DF}" dt="2019-11-23T16:29:32.888" v="7326" actId="20577"/>
          <ac:spMkLst>
            <pc:docMk/>
            <pc:sldMk cId="1710494087" sldId="329"/>
            <ac:spMk id="196" creationId="{0CB9B07E-08B6-44E5-9613-4F8251FCD5BE}"/>
          </ac:spMkLst>
        </pc:spChg>
        <pc:picChg chg="add">
          <ac:chgData name="Jack Tracey" userId="98dee47e-7932-4ede-ad91-867e883fbe46" providerId="ADAL" clId="{090785AB-5754-4084-A821-0DCC1536D9DF}" dt="2019-11-23T16:28:44.967" v="7305"/>
          <ac:picMkLst>
            <pc:docMk/>
            <pc:sldMk cId="1710494087" sldId="329"/>
            <ac:picMk id="197" creationId="{1D500E4E-4378-49BE-9AF3-D24CBE4D588D}"/>
          </ac:picMkLst>
        </pc:picChg>
      </pc:sldChg>
      <pc:sldChg chg="addSp delSp modSp modTransition">
        <pc:chgData name="Jack Tracey" userId="98dee47e-7932-4ede-ad91-867e883fbe46" providerId="ADAL" clId="{090785AB-5754-4084-A821-0DCC1536D9DF}" dt="2019-11-27T16:33:24.586" v="8886" actId="14100"/>
        <pc:sldMkLst>
          <pc:docMk/>
          <pc:sldMk cId="2323985547" sldId="507"/>
        </pc:sldMkLst>
        <pc:spChg chg="mod">
          <ac:chgData name="Jack Tracey" userId="98dee47e-7932-4ede-ad91-867e883fbe46" providerId="ADAL" clId="{090785AB-5754-4084-A821-0DCC1536D9DF}" dt="2019-11-27T16:33:18.951" v="8884" actId="1076"/>
          <ac:spMkLst>
            <pc:docMk/>
            <pc:sldMk cId="2323985547" sldId="507"/>
            <ac:spMk id="31" creationId="{89E4F5E5-661B-4968-86C4-527F2600534E}"/>
          </ac:spMkLst>
        </pc:spChg>
        <pc:picChg chg="add mod">
          <ac:chgData name="Jack Tracey" userId="98dee47e-7932-4ede-ad91-867e883fbe46" providerId="ADAL" clId="{090785AB-5754-4084-A821-0DCC1536D9DF}" dt="2019-11-27T16:33:24.586" v="8886" actId="14100"/>
          <ac:picMkLst>
            <pc:docMk/>
            <pc:sldMk cId="2323985547" sldId="507"/>
            <ac:picMk id="5" creationId="{1181E693-ECEA-4871-936E-59B9151077BF}"/>
          </ac:picMkLst>
        </pc:picChg>
        <pc:picChg chg="add del mod">
          <ac:chgData name="Jack Tracey" userId="98dee47e-7932-4ede-ad91-867e883fbe46" providerId="ADAL" clId="{090785AB-5754-4084-A821-0DCC1536D9DF}" dt="2019-11-22T13:22:04.394" v="1645" actId="478"/>
          <ac:picMkLst>
            <pc:docMk/>
            <pc:sldMk cId="2323985547" sldId="507"/>
            <ac:picMk id="5" creationId="{4AD99A40-E44F-4269-89FE-93A85DF7DA58}"/>
          </ac:picMkLst>
        </pc:picChg>
        <pc:picChg chg="add mod">
          <ac:chgData name="Jack Tracey" userId="98dee47e-7932-4ede-ad91-867e883fbe46" providerId="ADAL" clId="{090785AB-5754-4084-A821-0DCC1536D9DF}" dt="2019-11-22T13:22:40.607" v="1653" actId="1076"/>
          <ac:picMkLst>
            <pc:docMk/>
            <pc:sldMk cId="2323985547" sldId="507"/>
            <ac:picMk id="8" creationId="{9C5DB219-88C6-4F98-96AE-DD5C84B29658}"/>
          </ac:picMkLst>
        </pc:picChg>
      </pc:sldChg>
      <pc:sldChg chg="modSp modTransition">
        <pc:chgData name="Jack Tracey" userId="98dee47e-7932-4ede-ad91-867e883fbe46" providerId="ADAL" clId="{090785AB-5754-4084-A821-0DCC1536D9DF}" dt="2019-11-24T15:25:37.321" v="8871"/>
        <pc:sldMkLst>
          <pc:docMk/>
          <pc:sldMk cId="1620967048" sldId="539"/>
        </pc:sldMkLst>
        <pc:spChg chg="mod">
          <ac:chgData name="Jack Tracey" userId="98dee47e-7932-4ede-ad91-867e883fbe46" providerId="ADAL" clId="{090785AB-5754-4084-A821-0DCC1536D9DF}" dt="2019-11-22T11:32:11.331" v="13" actId="1076"/>
          <ac:spMkLst>
            <pc:docMk/>
            <pc:sldMk cId="1620967048" sldId="539"/>
            <ac:spMk id="7" creationId="{3041B32A-7E40-4D4B-ACE4-D8C665F8B323}"/>
          </ac:spMkLst>
        </pc:spChg>
      </pc:sldChg>
      <pc:sldChg chg="modSp modTransition modAnim">
        <pc:chgData name="Jack Tracey" userId="98dee47e-7932-4ede-ad91-867e883fbe46" providerId="ADAL" clId="{090785AB-5754-4084-A821-0DCC1536D9DF}" dt="2019-11-24T15:25:37.321" v="8871"/>
        <pc:sldMkLst>
          <pc:docMk/>
          <pc:sldMk cId="3679143134" sldId="541"/>
        </pc:sldMkLst>
        <pc:spChg chg="mod">
          <ac:chgData name="Jack Tracey" userId="98dee47e-7932-4ede-ad91-867e883fbe46" providerId="ADAL" clId="{090785AB-5754-4084-A821-0DCC1536D9DF}" dt="2019-11-22T11:34:27.544" v="113" actId="1076"/>
          <ac:spMkLst>
            <pc:docMk/>
            <pc:sldMk cId="3679143134" sldId="541"/>
            <ac:spMk id="10" creationId="{1B800DE3-CF57-4603-8854-4529CC0A5DD9}"/>
          </ac:spMkLst>
        </pc:spChg>
      </pc:sldChg>
      <pc:sldChg chg="addSp modSp ord modTransition modAnim">
        <pc:chgData name="Jack Tracey" userId="98dee47e-7932-4ede-ad91-867e883fbe46" providerId="ADAL" clId="{090785AB-5754-4084-A821-0DCC1536D9DF}" dt="2019-11-24T15:25:37.321" v="8871"/>
        <pc:sldMkLst>
          <pc:docMk/>
          <pc:sldMk cId="2714039227" sldId="543"/>
        </pc:sldMkLst>
        <pc:spChg chg="mod">
          <ac:chgData name="Jack Tracey" userId="98dee47e-7932-4ede-ad91-867e883fbe46" providerId="ADAL" clId="{090785AB-5754-4084-A821-0DCC1536D9DF}" dt="2019-11-22T11:37:43.569" v="368" actId="1076"/>
          <ac:spMkLst>
            <pc:docMk/>
            <pc:sldMk cId="2714039227" sldId="543"/>
            <ac:spMk id="2" creationId="{39233361-26D1-4118-99CB-A5545E724B8F}"/>
          </ac:spMkLst>
        </pc:spChg>
        <pc:spChg chg="mod">
          <ac:chgData name="Jack Tracey" userId="98dee47e-7932-4ede-ad91-867e883fbe46" providerId="ADAL" clId="{090785AB-5754-4084-A821-0DCC1536D9DF}" dt="2019-11-22T11:37:53.726" v="376" actId="20577"/>
          <ac:spMkLst>
            <pc:docMk/>
            <pc:sldMk cId="2714039227" sldId="543"/>
            <ac:spMk id="4" creationId="{5B86382E-A400-43F6-A819-3ADA26FEF1AC}"/>
          </ac:spMkLst>
        </pc:spChg>
        <pc:spChg chg="mod">
          <ac:chgData name="Jack Tracey" userId="98dee47e-7932-4ede-ad91-867e883fbe46" providerId="ADAL" clId="{090785AB-5754-4084-A821-0DCC1536D9DF}" dt="2019-11-22T11:38:40.410" v="397" actId="14100"/>
          <ac:spMkLst>
            <pc:docMk/>
            <pc:sldMk cId="2714039227" sldId="543"/>
            <ac:spMk id="8" creationId="{6F317DFF-5DF8-4E7F-9E94-AA61B9E9B4E6}"/>
          </ac:spMkLst>
        </pc:spChg>
        <pc:grpChg chg="mod">
          <ac:chgData name="Jack Tracey" userId="98dee47e-7932-4ede-ad91-867e883fbe46" providerId="ADAL" clId="{090785AB-5754-4084-A821-0DCC1536D9DF}" dt="2019-11-22T11:40:40.247" v="461" actId="1076"/>
          <ac:grpSpMkLst>
            <pc:docMk/>
            <pc:sldMk cId="2714039227" sldId="543"/>
            <ac:grpSpMk id="3" creationId="{EEA76C39-B14A-40A1-BD69-48E224FC5E2F}"/>
          </ac:grpSpMkLst>
        </pc:grpChg>
        <pc:grpChg chg="add mod">
          <ac:chgData name="Jack Tracey" userId="98dee47e-7932-4ede-ad91-867e883fbe46" providerId="ADAL" clId="{090785AB-5754-4084-A821-0DCC1536D9DF}" dt="2019-11-22T11:39:08.164" v="399" actId="1076"/>
          <ac:grpSpMkLst>
            <pc:docMk/>
            <pc:sldMk cId="2714039227" sldId="543"/>
            <ac:grpSpMk id="7" creationId="{CE25B7A9-B330-4760-BDF4-91E54A750274}"/>
          </ac:grpSpMkLst>
        </pc:grpChg>
      </pc:sldChg>
      <pc:sldChg chg="modSp modTransition modAnim">
        <pc:chgData name="Jack Tracey" userId="98dee47e-7932-4ede-ad91-867e883fbe46" providerId="ADAL" clId="{090785AB-5754-4084-A821-0DCC1536D9DF}" dt="2019-11-24T15:25:37.321" v="8871"/>
        <pc:sldMkLst>
          <pc:docMk/>
          <pc:sldMk cId="533326867" sldId="544"/>
        </pc:sldMkLst>
        <pc:spChg chg="mod">
          <ac:chgData name="Jack Tracey" userId="98dee47e-7932-4ede-ad91-867e883fbe46" providerId="ADAL" clId="{090785AB-5754-4084-A821-0DCC1536D9DF}" dt="2019-11-22T11:32:33.451" v="20" actId="1076"/>
          <ac:spMkLst>
            <pc:docMk/>
            <pc:sldMk cId="533326867" sldId="544"/>
            <ac:spMk id="10" creationId="{1B800DE3-CF57-4603-8854-4529CC0A5DD9}"/>
          </ac:spMkLst>
        </pc:spChg>
      </pc:sldChg>
      <pc:sldChg chg="modSp modTransition modAnim">
        <pc:chgData name="Jack Tracey" userId="98dee47e-7932-4ede-ad91-867e883fbe46" providerId="ADAL" clId="{090785AB-5754-4084-A821-0DCC1536D9DF}" dt="2019-11-24T15:25:37.321" v="8871"/>
        <pc:sldMkLst>
          <pc:docMk/>
          <pc:sldMk cId="1115611432" sldId="545"/>
        </pc:sldMkLst>
        <pc:spChg chg="mod">
          <ac:chgData name="Jack Tracey" userId="98dee47e-7932-4ede-ad91-867e883fbe46" providerId="ADAL" clId="{090785AB-5754-4084-A821-0DCC1536D9DF}" dt="2019-11-22T11:34:36.662" v="116" actId="20577"/>
          <ac:spMkLst>
            <pc:docMk/>
            <pc:sldMk cId="1115611432" sldId="545"/>
            <ac:spMk id="9" creationId="{2448901E-48B7-4417-BBB0-4E51F689A76D}"/>
          </ac:spMkLst>
        </pc:spChg>
        <pc:spChg chg="mod">
          <ac:chgData name="Jack Tracey" userId="98dee47e-7932-4ede-ad91-867e883fbe46" providerId="ADAL" clId="{090785AB-5754-4084-A821-0DCC1536D9DF}" dt="2019-11-22T16:37:51.398" v="3848" actId="1076"/>
          <ac:spMkLst>
            <pc:docMk/>
            <pc:sldMk cId="1115611432" sldId="545"/>
            <ac:spMk id="10" creationId="{1B800DE3-CF57-4603-8854-4529CC0A5DD9}"/>
          </ac:spMkLst>
        </pc:spChg>
      </pc:sldChg>
      <pc:sldChg chg="modSp modTransition">
        <pc:chgData name="Jack Tracey" userId="98dee47e-7932-4ede-ad91-867e883fbe46" providerId="ADAL" clId="{090785AB-5754-4084-A821-0DCC1536D9DF}" dt="2019-11-24T15:25:37.321" v="8871"/>
        <pc:sldMkLst>
          <pc:docMk/>
          <pc:sldMk cId="2965548729" sldId="546"/>
        </pc:sldMkLst>
        <pc:spChg chg="mod">
          <ac:chgData name="Jack Tracey" userId="98dee47e-7932-4ede-ad91-867e883fbe46" providerId="ADAL" clId="{090785AB-5754-4084-A821-0DCC1536D9DF}" dt="2019-11-22T11:40:07.366" v="451" actId="20577"/>
          <ac:spMkLst>
            <pc:docMk/>
            <pc:sldMk cId="2965548729" sldId="546"/>
            <ac:spMk id="10" creationId="{1B800DE3-CF57-4603-8854-4529CC0A5DD9}"/>
          </ac:spMkLst>
        </pc:spChg>
      </pc:sldChg>
      <pc:sldChg chg="addSp delSp modSp add ord modTransition setBg modAnim">
        <pc:chgData name="Jack Tracey" userId="98dee47e-7932-4ede-ad91-867e883fbe46" providerId="ADAL" clId="{090785AB-5754-4084-A821-0DCC1536D9DF}" dt="2019-11-24T15:25:37.321" v="8871"/>
        <pc:sldMkLst>
          <pc:docMk/>
          <pc:sldMk cId="842793738" sldId="547"/>
        </pc:sldMkLst>
        <pc:spChg chg="mod">
          <ac:chgData name="Jack Tracey" userId="98dee47e-7932-4ede-ad91-867e883fbe46" providerId="ADAL" clId="{090785AB-5754-4084-A821-0DCC1536D9DF}" dt="2019-11-22T11:48:43.297" v="507" actId="14100"/>
          <ac:spMkLst>
            <pc:docMk/>
            <pc:sldMk cId="842793738" sldId="547"/>
            <ac:spMk id="8" creationId="{022A2DF9-416C-4715-A4CE-B77A82E740E9}"/>
          </ac:spMkLst>
        </pc:spChg>
        <pc:spChg chg="mod">
          <ac:chgData name="Jack Tracey" userId="98dee47e-7932-4ede-ad91-867e883fbe46" providerId="ADAL" clId="{090785AB-5754-4084-A821-0DCC1536D9DF}" dt="2019-11-22T11:48:38.501" v="505" actId="20577"/>
          <ac:spMkLst>
            <pc:docMk/>
            <pc:sldMk cId="842793738" sldId="547"/>
            <ac:spMk id="9" creationId="{2448901E-48B7-4417-BBB0-4E51F689A76D}"/>
          </ac:spMkLst>
        </pc:spChg>
        <pc:spChg chg="mod">
          <ac:chgData name="Jack Tracey" userId="98dee47e-7932-4ede-ad91-867e883fbe46" providerId="ADAL" clId="{090785AB-5754-4084-A821-0DCC1536D9DF}" dt="2019-11-22T16:37:22.117" v="3846" actId="20578"/>
          <ac:spMkLst>
            <pc:docMk/>
            <pc:sldMk cId="842793738" sldId="547"/>
            <ac:spMk id="10" creationId="{1B800DE3-CF57-4603-8854-4529CC0A5DD9}"/>
          </ac:spMkLst>
        </pc:spChg>
        <pc:picChg chg="add mod">
          <ac:chgData name="Jack Tracey" userId="98dee47e-7932-4ede-ad91-867e883fbe46" providerId="ADAL" clId="{090785AB-5754-4084-A821-0DCC1536D9DF}" dt="2019-11-22T12:57:35.857" v="1367" actId="1076"/>
          <ac:picMkLst>
            <pc:docMk/>
            <pc:sldMk cId="842793738" sldId="547"/>
            <ac:picMk id="3" creationId="{5F94FCC9-33ED-4F75-BC10-6B685DD88B6E}"/>
          </ac:picMkLst>
        </pc:picChg>
        <pc:picChg chg="add del mod">
          <ac:chgData name="Jack Tracey" userId="98dee47e-7932-4ede-ad91-867e883fbe46" providerId="ADAL" clId="{090785AB-5754-4084-A821-0DCC1536D9DF}" dt="2019-11-22T12:57:21.861" v="1362" actId="1037"/>
          <ac:picMkLst>
            <pc:docMk/>
            <pc:sldMk cId="842793738" sldId="547"/>
            <ac:picMk id="5" creationId="{6336498D-5AEF-42A3-B193-212A21EA6941}"/>
          </ac:picMkLst>
        </pc:picChg>
        <pc:picChg chg="add mod">
          <ac:chgData name="Jack Tracey" userId="98dee47e-7932-4ede-ad91-867e883fbe46" providerId="ADAL" clId="{090785AB-5754-4084-A821-0DCC1536D9DF}" dt="2019-11-22T12:57:29.707" v="1365" actId="1076"/>
          <ac:picMkLst>
            <pc:docMk/>
            <pc:sldMk cId="842793738" sldId="547"/>
            <ac:picMk id="6" creationId="{FFF7C835-D03A-47B1-9DC8-BA3E087466D5}"/>
          </ac:picMkLst>
        </pc:picChg>
      </pc:sldChg>
      <pc:sldChg chg="addSp delSp modSp add modTransition delAnim modAnim">
        <pc:chgData name="Jack Tracey" userId="98dee47e-7932-4ede-ad91-867e883fbe46" providerId="ADAL" clId="{090785AB-5754-4084-A821-0DCC1536D9DF}" dt="2019-11-24T15:25:37.321" v="8871"/>
        <pc:sldMkLst>
          <pc:docMk/>
          <pc:sldMk cId="2879364290" sldId="548"/>
        </pc:sldMkLst>
        <pc:spChg chg="mod">
          <ac:chgData name="Jack Tracey" userId="98dee47e-7932-4ede-ad91-867e883fbe46" providerId="ADAL" clId="{090785AB-5754-4084-A821-0DCC1536D9DF}" dt="2019-11-22T12:42:23.078" v="1117" actId="14100"/>
          <ac:spMkLst>
            <pc:docMk/>
            <pc:sldMk cId="2879364290" sldId="548"/>
            <ac:spMk id="8" creationId="{022A2DF9-416C-4715-A4CE-B77A82E740E9}"/>
          </ac:spMkLst>
        </pc:spChg>
        <pc:spChg chg="mod">
          <ac:chgData name="Jack Tracey" userId="98dee47e-7932-4ede-ad91-867e883fbe46" providerId="ADAL" clId="{090785AB-5754-4084-A821-0DCC1536D9DF}" dt="2019-11-22T12:42:19.145" v="1115" actId="27636"/>
          <ac:spMkLst>
            <pc:docMk/>
            <pc:sldMk cId="2879364290" sldId="548"/>
            <ac:spMk id="9" creationId="{2448901E-48B7-4417-BBB0-4E51F689A76D}"/>
          </ac:spMkLst>
        </pc:spChg>
        <pc:spChg chg="del">
          <ac:chgData name="Jack Tracey" userId="98dee47e-7932-4ede-ad91-867e883fbe46" providerId="ADAL" clId="{090785AB-5754-4084-A821-0DCC1536D9DF}" dt="2019-11-22T12:27:56.746" v="1000" actId="478"/>
          <ac:spMkLst>
            <pc:docMk/>
            <pc:sldMk cId="2879364290" sldId="548"/>
            <ac:spMk id="10" creationId="{1B800DE3-CF57-4603-8854-4529CC0A5DD9}"/>
          </ac:spMkLst>
        </pc:spChg>
        <pc:picChg chg="add del mod">
          <ac:chgData name="Jack Tracey" userId="98dee47e-7932-4ede-ad91-867e883fbe46" providerId="ADAL" clId="{090785AB-5754-4084-A821-0DCC1536D9DF}" dt="2019-11-22T12:32:56.294" v="1012" actId="478"/>
          <ac:picMkLst>
            <pc:docMk/>
            <pc:sldMk cId="2879364290" sldId="548"/>
            <ac:picMk id="3" creationId="{3DB85A8E-D4F3-4495-9478-385B44DC4545}"/>
          </ac:picMkLst>
        </pc:picChg>
        <pc:picChg chg="add mod">
          <ac:chgData name="Jack Tracey" userId="98dee47e-7932-4ede-ad91-867e883fbe46" providerId="ADAL" clId="{090785AB-5754-4084-A821-0DCC1536D9DF}" dt="2019-11-22T12:35:35.742" v="1020" actId="1076"/>
          <ac:picMkLst>
            <pc:docMk/>
            <pc:sldMk cId="2879364290" sldId="548"/>
            <ac:picMk id="4" creationId="{9350F21F-9E69-448A-B20F-321F69C9CF68}"/>
          </ac:picMkLst>
        </pc:picChg>
        <pc:picChg chg="add mod">
          <ac:chgData name="Jack Tracey" userId="98dee47e-7932-4ede-ad91-867e883fbe46" providerId="ADAL" clId="{090785AB-5754-4084-A821-0DCC1536D9DF}" dt="2019-11-22T13:50:48.292" v="2271" actId="14100"/>
          <ac:picMkLst>
            <pc:docMk/>
            <pc:sldMk cId="2879364290" sldId="548"/>
            <ac:picMk id="7" creationId="{0D12AC71-544A-4C90-9663-7C28E8F06E22}"/>
          </ac:picMkLst>
        </pc:picChg>
        <pc:picChg chg="add mod ord">
          <ac:chgData name="Jack Tracey" userId="98dee47e-7932-4ede-ad91-867e883fbe46" providerId="ADAL" clId="{090785AB-5754-4084-A821-0DCC1536D9DF}" dt="2019-11-22T12:47:23.069" v="1174" actId="167"/>
          <ac:picMkLst>
            <pc:docMk/>
            <pc:sldMk cId="2879364290" sldId="548"/>
            <ac:picMk id="12" creationId="{FA9705FA-9344-46B4-A3A3-5F3A79D56E8A}"/>
          </ac:picMkLst>
        </pc:picChg>
        <pc:picChg chg="add del mod">
          <ac:chgData name="Jack Tracey" userId="98dee47e-7932-4ede-ad91-867e883fbe46" providerId="ADAL" clId="{090785AB-5754-4084-A821-0DCC1536D9DF}" dt="2019-11-22T12:47:25.191" v="1175" actId="478"/>
          <ac:picMkLst>
            <pc:docMk/>
            <pc:sldMk cId="2879364290" sldId="548"/>
            <ac:picMk id="1026" creationId="{7848755A-CE2D-445A-8127-6087C7102322}"/>
          </ac:picMkLst>
        </pc:picChg>
      </pc:sldChg>
      <pc:sldChg chg="addSp delSp modSp add modTransition">
        <pc:chgData name="Jack Tracey" userId="98dee47e-7932-4ede-ad91-867e883fbe46" providerId="ADAL" clId="{090785AB-5754-4084-A821-0DCC1536D9DF}" dt="2019-11-24T15:25:37.321" v="8871"/>
        <pc:sldMkLst>
          <pc:docMk/>
          <pc:sldMk cId="657973168" sldId="549"/>
        </pc:sldMkLst>
        <pc:spChg chg="mod">
          <ac:chgData name="Jack Tracey" userId="98dee47e-7932-4ede-ad91-867e883fbe46" providerId="ADAL" clId="{090785AB-5754-4084-A821-0DCC1536D9DF}" dt="2019-11-22T12:42:08.477" v="1097" actId="14100"/>
          <ac:spMkLst>
            <pc:docMk/>
            <pc:sldMk cId="657973168" sldId="549"/>
            <ac:spMk id="8" creationId="{022A2DF9-416C-4715-A4CE-B77A82E740E9}"/>
          </ac:spMkLst>
        </pc:spChg>
        <pc:spChg chg="mod">
          <ac:chgData name="Jack Tracey" userId="98dee47e-7932-4ede-ad91-867e883fbe46" providerId="ADAL" clId="{090785AB-5754-4084-A821-0DCC1536D9DF}" dt="2019-11-22T12:42:04.632" v="1096" actId="27636"/>
          <ac:spMkLst>
            <pc:docMk/>
            <pc:sldMk cId="657973168" sldId="549"/>
            <ac:spMk id="9" creationId="{2448901E-48B7-4417-BBB0-4E51F689A76D}"/>
          </ac:spMkLst>
        </pc:spChg>
        <pc:picChg chg="mod">
          <ac:chgData name="Jack Tracey" userId="98dee47e-7932-4ede-ad91-867e883fbe46" providerId="ADAL" clId="{090785AB-5754-4084-A821-0DCC1536D9DF}" dt="2019-11-22T12:41:20.338" v="1063" actId="1076"/>
          <ac:picMkLst>
            <pc:docMk/>
            <pc:sldMk cId="657973168" sldId="549"/>
            <ac:picMk id="3" creationId="{3DB85A8E-D4F3-4495-9478-385B44DC4545}"/>
          </ac:picMkLst>
        </pc:picChg>
        <pc:picChg chg="add mod">
          <ac:chgData name="Jack Tracey" userId="98dee47e-7932-4ede-ad91-867e883fbe46" providerId="ADAL" clId="{090785AB-5754-4084-A821-0DCC1536D9DF}" dt="2019-11-22T12:41:10.407" v="1060" actId="14100"/>
          <ac:picMkLst>
            <pc:docMk/>
            <pc:sldMk cId="657973168" sldId="549"/>
            <ac:picMk id="4" creationId="{CF85E932-5DF2-4F3F-9A37-21ABF87AD16C}"/>
          </ac:picMkLst>
        </pc:picChg>
        <pc:picChg chg="del">
          <ac:chgData name="Jack Tracey" userId="98dee47e-7932-4ede-ad91-867e883fbe46" providerId="ADAL" clId="{090785AB-5754-4084-A821-0DCC1536D9DF}" dt="2019-11-22T12:40:39.855" v="1051" actId="478"/>
          <ac:picMkLst>
            <pc:docMk/>
            <pc:sldMk cId="657973168" sldId="549"/>
            <ac:picMk id="1026" creationId="{7848755A-CE2D-445A-8127-6087C7102322}"/>
          </ac:picMkLst>
        </pc:picChg>
      </pc:sldChg>
      <pc:sldChg chg="addSp delSp modSp add ord modTransition">
        <pc:chgData name="Jack Tracey" userId="98dee47e-7932-4ede-ad91-867e883fbe46" providerId="ADAL" clId="{090785AB-5754-4084-A821-0DCC1536D9DF}" dt="2019-11-24T15:25:37.321" v="8871"/>
        <pc:sldMkLst>
          <pc:docMk/>
          <pc:sldMk cId="2841867360" sldId="550"/>
        </pc:sldMkLst>
        <pc:spChg chg="mod">
          <ac:chgData name="Jack Tracey" userId="98dee47e-7932-4ede-ad91-867e883fbe46" providerId="ADAL" clId="{090785AB-5754-4084-A821-0DCC1536D9DF}" dt="2019-11-22T12:50:02.243" v="1208" actId="14100"/>
          <ac:spMkLst>
            <pc:docMk/>
            <pc:sldMk cId="2841867360" sldId="550"/>
            <ac:spMk id="8" creationId="{022A2DF9-416C-4715-A4CE-B77A82E740E9}"/>
          </ac:spMkLst>
        </pc:spChg>
        <pc:spChg chg="mod">
          <ac:chgData name="Jack Tracey" userId="98dee47e-7932-4ede-ad91-867e883fbe46" providerId="ADAL" clId="{090785AB-5754-4084-A821-0DCC1536D9DF}" dt="2019-11-22T12:49:54.001" v="1205" actId="27636"/>
          <ac:spMkLst>
            <pc:docMk/>
            <pc:sldMk cId="2841867360" sldId="550"/>
            <ac:spMk id="9" creationId="{2448901E-48B7-4417-BBB0-4E51F689A76D}"/>
          </ac:spMkLst>
        </pc:spChg>
        <pc:picChg chg="del">
          <ac:chgData name="Jack Tracey" userId="98dee47e-7932-4ede-ad91-867e883fbe46" providerId="ADAL" clId="{090785AB-5754-4084-A821-0DCC1536D9DF}" dt="2019-11-22T12:43:39.224" v="1139" actId="478"/>
          <ac:picMkLst>
            <pc:docMk/>
            <pc:sldMk cId="2841867360" sldId="550"/>
            <ac:picMk id="3" creationId="{3DB85A8E-D4F3-4495-9478-385B44DC4545}"/>
          </ac:picMkLst>
        </pc:picChg>
        <pc:picChg chg="del">
          <ac:chgData name="Jack Tracey" userId="98dee47e-7932-4ede-ad91-867e883fbe46" providerId="ADAL" clId="{090785AB-5754-4084-A821-0DCC1536D9DF}" dt="2019-11-22T12:43:38.720" v="1138" actId="478"/>
          <ac:picMkLst>
            <pc:docMk/>
            <pc:sldMk cId="2841867360" sldId="550"/>
            <ac:picMk id="4" creationId="{CF85E932-5DF2-4F3F-9A37-21ABF87AD16C}"/>
          </ac:picMkLst>
        </pc:picChg>
        <pc:picChg chg="add mod">
          <ac:chgData name="Jack Tracey" userId="98dee47e-7932-4ede-ad91-867e883fbe46" providerId="ADAL" clId="{090785AB-5754-4084-A821-0DCC1536D9DF}" dt="2019-11-22T12:49:08.927" v="1185" actId="14100"/>
          <ac:picMkLst>
            <pc:docMk/>
            <pc:sldMk cId="2841867360" sldId="550"/>
            <ac:picMk id="6" creationId="{C00C54A8-F287-4F01-9186-80E0211891AB}"/>
          </ac:picMkLst>
        </pc:picChg>
        <pc:picChg chg="add mod">
          <ac:chgData name="Jack Tracey" userId="98dee47e-7932-4ede-ad91-867e883fbe46" providerId="ADAL" clId="{090785AB-5754-4084-A821-0DCC1536D9DF}" dt="2019-11-22T12:49:13.408" v="1186" actId="14100"/>
          <ac:picMkLst>
            <pc:docMk/>
            <pc:sldMk cId="2841867360" sldId="550"/>
            <ac:picMk id="10" creationId="{87755443-3A56-4D73-AB86-695E419BDAB5}"/>
          </ac:picMkLst>
        </pc:picChg>
      </pc:sldChg>
      <pc:sldChg chg="addSp delSp modSp add modTransition">
        <pc:chgData name="Jack Tracey" userId="98dee47e-7932-4ede-ad91-867e883fbe46" providerId="ADAL" clId="{090785AB-5754-4084-A821-0DCC1536D9DF}" dt="2019-11-24T15:25:37.321" v="8871"/>
        <pc:sldMkLst>
          <pc:docMk/>
          <pc:sldMk cId="1037987412" sldId="551"/>
        </pc:sldMkLst>
        <pc:spChg chg="mod">
          <ac:chgData name="Jack Tracey" userId="98dee47e-7932-4ede-ad91-867e883fbe46" providerId="ADAL" clId="{090785AB-5754-4084-A821-0DCC1536D9DF}" dt="2019-11-22T12:50:46.485" v="1224" actId="14100"/>
          <ac:spMkLst>
            <pc:docMk/>
            <pc:sldMk cId="1037987412" sldId="551"/>
            <ac:spMk id="8" creationId="{022A2DF9-416C-4715-A4CE-B77A82E740E9}"/>
          </ac:spMkLst>
        </pc:spChg>
        <pc:spChg chg="mod">
          <ac:chgData name="Jack Tracey" userId="98dee47e-7932-4ede-ad91-867e883fbe46" providerId="ADAL" clId="{090785AB-5754-4084-A821-0DCC1536D9DF}" dt="2019-11-22T12:50:41.871" v="1222" actId="20577"/>
          <ac:spMkLst>
            <pc:docMk/>
            <pc:sldMk cId="1037987412" sldId="551"/>
            <ac:spMk id="9" creationId="{2448901E-48B7-4417-BBB0-4E51F689A76D}"/>
          </ac:spMkLst>
        </pc:spChg>
        <pc:picChg chg="del">
          <ac:chgData name="Jack Tracey" userId="98dee47e-7932-4ede-ad91-867e883fbe46" providerId="ADAL" clId="{090785AB-5754-4084-A821-0DCC1536D9DF}" dt="2019-11-22T12:50:48.237" v="1226" actId="478"/>
          <ac:picMkLst>
            <pc:docMk/>
            <pc:sldMk cId="1037987412" sldId="551"/>
            <ac:picMk id="3" creationId="{3DB85A8E-D4F3-4495-9478-385B44DC4545}"/>
          </ac:picMkLst>
        </pc:picChg>
        <pc:picChg chg="del">
          <ac:chgData name="Jack Tracey" userId="98dee47e-7932-4ede-ad91-867e883fbe46" providerId="ADAL" clId="{090785AB-5754-4084-A821-0DCC1536D9DF}" dt="2019-11-22T12:50:47.783" v="1225" actId="478"/>
          <ac:picMkLst>
            <pc:docMk/>
            <pc:sldMk cId="1037987412" sldId="551"/>
            <ac:picMk id="4" creationId="{CF85E932-5DF2-4F3F-9A37-21ABF87AD16C}"/>
          </ac:picMkLst>
        </pc:picChg>
        <pc:picChg chg="add mod ord">
          <ac:chgData name="Jack Tracey" userId="98dee47e-7932-4ede-ad91-867e883fbe46" providerId="ADAL" clId="{090785AB-5754-4084-A821-0DCC1536D9DF}" dt="2019-11-22T12:53:57.816" v="1264" actId="1076"/>
          <ac:picMkLst>
            <pc:docMk/>
            <pc:sldMk cId="1037987412" sldId="551"/>
            <ac:picMk id="6" creationId="{1FB63E3B-9FFF-4091-957F-92DC4A3D2745}"/>
          </ac:picMkLst>
        </pc:picChg>
        <pc:picChg chg="add mod ord">
          <ac:chgData name="Jack Tracey" userId="98dee47e-7932-4ede-ad91-867e883fbe46" providerId="ADAL" clId="{090785AB-5754-4084-A821-0DCC1536D9DF}" dt="2019-11-22T12:53:53.905" v="1263" actId="1076"/>
          <ac:picMkLst>
            <pc:docMk/>
            <pc:sldMk cId="1037987412" sldId="551"/>
            <ac:picMk id="10" creationId="{7ADAD8A3-4397-4A64-9003-2394D468EC18}"/>
          </ac:picMkLst>
        </pc:picChg>
        <pc:picChg chg="add mod">
          <ac:chgData name="Jack Tracey" userId="98dee47e-7932-4ede-ad91-867e883fbe46" providerId="ADAL" clId="{090785AB-5754-4084-A821-0DCC1536D9DF}" dt="2019-11-22T12:53:40.432" v="1260" actId="1076"/>
          <ac:picMkLst>
            <pc:docMk/>
            <pc:sldMk cId="1037987412" sldId="551"/>
            <ac:picMk id="12" creationId="{A04DF0D7-860A-4838-8AC4-2F068AC379E8}"/>
          </ac:picMkLst>
        </pc:picChg>
        <pc:picChg chg="add mod">
          <ac:chgData name="Jack Tracey" userId="98dee47e-7932-4ede-ad91-867e883fbe46" providerId="ADAL" clId="{090785AB-5754-4084-A821-0DCC1536D9DF}" dt="2019-11-22T12:53:33.687" v="1259" actId="1076"/>
          <ac:picMkLst>
            <pc:docMk/>
            <pc:sldMk cId="1037987412" sldId="551"/>
            <ac:picMk id="14" creationId="{ACA2C90B-5917-4555-B7DF-43F8E1F24E52}"/>
          </ac:picMkLst>
        </pc:picChg>
      </pc:sldChg>
      <pc:sldChg chg="addSp delSp modSp add modTransition modAnim">
        <pc:chgData name="Jack Tracey" userId="98dee47e-7932-4ede-ad91-867e883fbe46" providerId="ADAL" clId="{090785AB-5754-4084-A821-0DCC1536D9DF}" dt="2019-11-24T15:25:37.321" v="8871"/>
        <pc:sldMkLst>
          <pc:docMk/>
          <pc:sldMk cId="319321730" sldId="552"/>
        </pc:sldMkLst>
        <pc:spChg chg="mod">
          <ac:chgData name="Jack Tracey" userId="98dee47e-7932-4ede-ad91-867e883fbe46" providerId="ADAL" clId="{090785AB-5754-4084-A821-0DCC1536D9DF}" dt="2019-11-22T12:55:23.159" v="1284" actId="14100"/>
          <ac:spMkLst>
            <pc:docMk/>
            <pc:sldMk cId="319321730" sldId="552"/>
            <ac:spMk id="8" creationId="{022A2DF9-416C-4715-A4CE-B77A82E740E9}"/>
          </ac:spMkLst>
        </pc:spChg>
        <pc:spChg chg="mod">
          <ac:chgData name="Jack Tracey" userId="98dee47e-7932-4ede-ad91-867e883fbe46" providerId="ADAL" clId="{090785AB-5754-4084-A821-0DCC1536D9DF}" dt="2019-11-22T12:55:18.957" v="1283" actId="20577"/>
          <ac:spMkLst>
            <pc:docMk/>
            <pc:sldMk cId="319321730" sldId="552"/>
            <ac:spMk id="9" creationId="{2448901E-48B7-4417-BBB0-4E51F689A76D}"/>
          </ac:spMkLst>
        </pc:spChg>
        <pc:picChg chg="add mod ord">
          <ac:chgData name="Jack Tracey" userId="98dee47e-7932-4ede-ad91-867e883fbe46" providerId="ADAL" clId="{090785AB-5754-4084-A821-0DCC1536D9DF}" dt="2019-11-22T12:58:46.567" v="1373" actId="166"/>
          <ac:picMkLst>
            <pc:docMk/>
            <pc:sldMk cId="319321730" sldId="552"/>
            <ac:picMk id="3" creationId="{6D5FE501-BB36-43C1-A6E2-19C8682FA658}"/>
          </ac:picMkLst>
        </pc:picChg>
        <pc:picChg chg="del">
          <ac:chgData name="Jack Tracey" userId="98dee47e-7932-4ede-ad91-867e883fbe46" providerId="ADAL" clId="{090785AB-5754-4084-A821-0DCC1536D9DF}" dt="2019-11-22T12:55:26.731" v="1287" actId="478"/>
          <ac:picMkLst>
            <pc:docMk/>
            <pc:sldMk cId="319321730" sldId="552"/>
            <ac:picMk id="6" creationId="{1FB63E3B-9FFF-4091-957F-92DC4A3D2745}"/>
          </ac:picMkLst>
        </pc:picChg>
        <pc:picChg chg="add del mod">
          <ac:chgData name="Jack Tracey" userId="98dee47e-7932-4ede-ad91-867e883fbe46" providerId="ADAL" clId="{090785AB-5754-4084-A821-0DCC1536D9DF}" dt="2019-11-22T12:55:46.931" v="1297" actId="478"/>
          <ac:picMkLst>
            <pc:docMk/>
            <pc:sldMk cId="319321730" sldId="552"/>
            <ac:picMk id="7" creationId="{36D68F4A-25B6-4D55-B3CC-2F182189F2B0}"/>
          </ac:picMkLst>
        </pc:picChg>
        <pc:picChg chg="del">
          <ac:chgData name="Jack Tracey" userId="98dee47e-7932-4ede-ad91-867e883fbe46" providerId="ADAL" clId="{090785AB-5754-4084-A821-0DCC1536D9DF}" dt="2019-11-22T12:55:27.111" v="1288" actId="478"/>
          <ac:picMkLst>
            <pc:docMk/>
            <pc:sldMk cId="319321730" sldId="552"/>
            <ac:picMk id="10" creationId="{7ADAD8A3-4397-4A64-9003-2394D468EC18}"/>
          </ac:picMkLst>
        </pc:picChg>
        <pc:picChg chg="del">
          <ac:chgData name="Jack Tracey" userId="98dee47e-7932-4ede-ad91-867e883fbe46" providerId="ADAL" clId="{090785AB-5754-4084-A821-0DCC1536D9DF}" dt="2019-11-22T12:55:26.373" v="1286" actId="478"/>
          <ac:picMkLst>
            <pc:docMk/>
            <pc:sldMk cId="319321730" sldId="552"/>
            <ac:picMk id="12" creationId="{A04DF0D7-860A-4838-8AC4-2F068AC379E8}"/>
          </ac:picMkLst>
        </pc:picChg>
        <pc:picChg chg="add mod ord modCrop">
          <ac:chgData name="Jack Tracey" userId="98dee47e-7932-4ede-ad91-867e883fbe46" providerId="ADAL" clId="{090785AB-5754-4084-A821-0DCC1536D9DF}" dt="2019-11-22T12:59:08.976" v="1379" actId="1076"/>
          <ac:picMkLst>
            <pc:docMk/>
            <pc:sldMk cId="319321730" sldId="552"/>
            <ac:picMk id="13" creationId="{36EBE9DC-0992-47A0-9933-210FF89C8DC6}"/>
          </ac:picMkLst>
        </pc:picChg>
        <pc:picChg chg="del">
          <ac:chgData name="Jack Tracey" userId="98dee47e-7932-4ede-ad91-867e883fbe46" providerId="ADAL" clId="{090785AB-5754-4084-A821-0DCC1536D9DF}" dt="2019-11-22T12:55:26.070" v="1285" actId="478"/>
          <ac:picMkLst>
            <pc:docMk/>
            <pc:sldMk cId="319321730" sldId="552"/>
            <ac:picMk id="14" creationId="{ACA2C90B-5917-4555-B7DF-43F8E1F24E52}"/>
          </ac:picMkLst>
        </pc:picChg>
        <pc:picChg chg="add mod ord">
          <ac:chgData name="Jack Tracey" userId="98dee47e-7932-4ede-ad91-867e883fbe46" providerId="ADAL" clId="{090785AB-5754-4084-A821-0DCC1536D9DF}" dt="2019-11-22T12:59:34.824" v="1388" actId="1076"/>
          <ac:picMkLst>
            <pc:docMk/>
            <pc:sldMk cId="319321730" sldId="552"/>
            <ac:picMk id="16" creationId="{238BF2C3-F229-41E5-AA14-A3602B3031F5}"/>
          </ac:picMkLst>
        </pc:picChg>
        <pc:picChg chg="add mod ord">
          <ac:chgData name="Jack Tracey" userId="98dee47e-7932-4ede-ad91-867e883fbe46" providerId="ADAL" clId="{090785AB-5754-4084-A821-0DCC1536D9DF}" dt="2019-11-22T12:59:39.973" v="1389" actId="14100"/>
          <ac:picMkLst>
            <pc:docMk/>
            <pc:sldMk cId="319321730" sldId="552"/>
            <ac:picMk id="18" creationId="{30254D49-426F-4303-B4B0-E5CEF26A2CF2}"/>
          </ac:picMkLst>
        </pc:picChg>
        <pc:picChg chg="add mod">
          <ac:chgData name="Jack Tracey" userId="98dee47e-7932-4ede-ad91-867e883fbe46" providerId="ADAL" clId="{090785AB-5754-4084-A821-0DCC1536D9DF}" dt="2019-11-22T13:02:01.506" v="1418" actId="1076"/>
          <ac:picMkLst>
            <pc:docMk/>
            <pc:sldMk cId="319321730" sldId="552"/>
            <ac:picMk id="3074" creationId="{5C6D3698-253A-4D45-9C3B-D2F5C76CB76F}"/>
          </ac:picMkLst>
        </pc:picChg>
      </pc:sldChg>
      <pc:sldChg chg="addSp delSp modSp add modTransition">
        <pc:chgData name="Jack Tracey" userId="98dee47e-7932-4ede-ad91-867e883fbe46" providerId="ADAL" clId="{090785AB-5754-4084-A821-0DCC1536D9DF}" dt="2019-11-24T15:25:37.321" v="8871"/>
        <pc:sldMkLst>
          <pc:docMk/>
          <pc:sldMk cId="2785250797" sldId="553"/>
        </pc:sldMkLst>
        <pc:spChg chg="mod">
          <ac:chgData name="Jack Tracey" userId="98dee47e-7932-4ede-ad91-867e883fbe46" providerId="ADAL" clId="{090785AB-5754-4084-A821-0DCC1536D9DF}" dt="2019-11-22T12:59:53.644" v="1401" actId="20577"/>
          <ac:spMkLst>
            <pc:docMk/>
            <pc:sldMk cId="2785250797" sldId="553"/>
            <ac:spMk id="9" creationId="{2448901E-48B7-4417-BBB0-4E51F689A76D}"/>
          </ac:spMkLst>
        </pc:spChg>
        <pc:picChg chg="del">
          <ac:chgData name="Jack Tracey" userId="98dee47e-7932-4ede-ad91-867e883fbe46" providerId="ADAL" clId="{090785AB-5754-4084-A821-0DCC1536D9DF}" dt="2019-11-22T12:59:59.831" v="1402" actId="478"/>
          <ac:picMkLst>
            <pc:docMk/>
            <pc:sldMk cId="2785250797" sldId="553"/>
            <ac:picMk id="3" creationId="{6D5FE501-BB36-43C1-A6E2-19C8682FA658}"/>
          </ac:picMkLst>
        </pc:picChg>
        <pc:picChg chg="add mod">
          <ac:chgData name="Jack Tracey" userId="98dee47e-7932-4ede-ad91-867e883fbe46" providerId="ADAL" clId="{090785AB-5754-4084-A821-0DCC1536D9DF}" dt="2019-11-22T13:00:26.830" v="1414" actId="1076"/>
          <ac:picMkLst>
            <pc:docMk/>
            <pc:sldMk cId="2785250797" sldId="553"/>
            <ac:picMk id="4" creationId="{41899F98-78F9-459A-A086-2A093CB76C65}"/>
          </ac:picMkLst>
        </pc:picChg>
        <pc:picChg chg="add mod">
          <ac:chgData name="Jack Tracey" userId="98dee47e-7932-4ede-ad91-867e883fbe46" providerId="ADAL" clId="{090785AB-5754-4084-A821-0DCC1536D9DF}" dt="2019-11-22T13:00:24.147" v="1413" actId="1076"/>
          <ac:picMkLst>
            <pc:docMk/>
            <pc:sldMk cId="2785250797" sldId="553"/>
            <ac:picMk id="7" creationId="{9A25E9E8-2ED9-459D-B7E7-DA9847D3C7F3}"/>
          </ac:picMkLst>
        </pc:picChg>
        <pc:picChg chg="del">
          <ac:chgData name="Jack Tracey" userId="98dee47e-7932-4ede-ad91-867e883fbe46" providerId="ADAL" clId="{090785AB-5754-4084-A821-0DCC1536D9DF}" dt="2019-11-22T12:59:59.831" v="1402" actId="478"/>
          <ac:picMkLst>
            <pc:docMk/>
            <pc:sldMk cId="2785250797" sldId="553"/>
            <ac:picMk id="13" creationId="{36EBE9DC-0992-47A0-9933-210FF89C8DC6}"/>
          </ac:picMkLst>
        </pc:picChg>
        <pc:picChg chg="del">
          <ac:chgData name="Jack Tracey" userId="98dee47e-7932-4ede-ad91-867e883fbe46" providerId="ADAL" clId="{090785AB-5754-4084-A821-0DCC1536D9DF}" dt="2019-11-22T12:59:59.831" v="1402" actId="478"/>
          <ac:picMkLst>
            <pc:docMk/>
            <pc:sldMk cId="2785250797" sldId="553"/>
            <ac:picMk id="16" creationId="{238BF2C3-F229-41E5-AA14-A3602B3031F5}"/>
          </ac:picMkLst>
        </pc:picChg>
        <pc:picChg chg="del">
          <ac:chgData name="Jack Tracey" userId="98dee47e-7932-4ede-ad91-867e883fbe46" providerId="ADAL" clId="{090785AB-5754-4084-A821-0DCC1536D9DF}" dt="2019-11-22T12:59:59.831" v="1402" actId="478"/>
          <ac:picMkLst>
            <pc:docMk/>
            <pc:sldMk cId="2785250797" sldId="553"/>
            <ac:picMk id="18" creationId="{30254D49-426F-4303-B4B0-E5CEF26A2CF2}"/>
          </ac:picMkLst>
        </pc:picChg>
      </pc:sldChg>
      <pc:sldChg chg="add del setBg">
        <pc:chgData name="Jack Tracey" userId="98dee47e-7932-4ede-ad91-867e883fbe46" providerId="ADAL" clId="{090785AB-5754-4084-A821-0DCC1536D9DF}" dt="2019-11-22T13:11:39.297" v="1438"/>
        <pc:sldMkLst>
          <pc:docMk/>
          <pc:sldMk cId="194441411" sldId="554"/>
        </pc:sldMkLst>
      </pc:sldChg>
      <pc:sldChg chg="addSp modSp add ord modTransition">
        <pc:chgData name="Jack Tracey" userId="98dee47e-7932-4ede-ad91-867e883fbe46" providerId="ADAL" clId="{090785AB-5754-4084-A821-0DCC1536D9DF}" dt="2019-11-24T15:25:37.321" v="8871"/>
        <pc:sldMkLst>
          <pc:docMk/>
          <pc:sldMk cId="4145438909" sldId="554"/>
        </pc:sldMkLst>
        <pc:spChg chg="mod">
          <ac:chgData name="Jack Tracey" userId="98dee47e-7932-4ede-ad91-867e883fbe46" providerId="ADAL" clId="{090785AB-5754-4084-A821-0DCC1536D9DF}" dt="2019-11-22T13:11:53.428" v="1462" actId="14100"/>
          <ac:spMkLst>
            <pc:docMk/>
            <pc:sldMk cId="4145438909" sldId="554"/>
            <ac:spMk id="8" creationId="{022A2DF9-416C-4715-A4CE-B77A82E740E9}"/>
          </ac:spMkLst>
        </pc:spChg>
        <pc:spChg chg="mod">
          <ac:chgData name="Jack Tracey" userId="98dee47e-7932-4ede-ad91-867e883fbe46" providerId="ADAL" clId="{090785AB-5754-4084-A821-0DCC1536D9DF}" dt="2019-11-22T13:11:48.874" v="1461" actId="20577"/>
          <ac:spMkLst>
            <pc:docMk/>
            <pc:sldMk cId="4145438909" sldId="554"/>
            <ac:spMk id="9" creationId="{2448901E-48B7-4417-BBB0-4E51F689A76D}"/>
          </ac:spMkLst>
        </pc:spChg>
        <pc:spChg chg="mod">
          <ac:chgData name="Jack Tracey" userId="98dee47e-7932-4ede-ad91-867e883fbe46" providerId="ADAL" clId="{090785AB-5754-4084-A821-0DCC1536D9DF}" dt="2019-11-22T13:14:48.106" v="1615" actId="20577"/>
          <ac:spMkLst>
            <pc:docMk/>
            <pc:sldMk cId="4145438909" sldId="554"/>
            <ac:spMk id="10" creationId="{1B800DE3-CF57-4603-8854-4529CC0A5DD9}"/>
          </ac:spMkLst>
        </pc:spChg>
        <pc:picChg chg="add mod">
          <ac:chgData name="Jack Tracey" userId="98dee47e-7932-4ede-ad91-867e883fbe46" providerId="ADAL" clId="{090785AB-5754-4084-A821-0DCC1536D9DF}" dt="2019-11-22T13:15:52.421" v="1616" actId="1076"/>
          <ac:picMkLst>
            <pc:docMk/>
            <pc:sldMk cId="4145438909" sldId="554"/>
            <ac:picMk id="3" creationId="{2806363A-DEF7-4B02-945D-3F2F6EECB02E}"/>
          </ac:picMkLst>
        </pc:picChg>
      </pc:sldChg>
      <pc:sldChg chg="addSp delSp modSp add modTransition delAnim modAnim">
        <pc:chgData name="Jack Tracey" userId="98dee47e-7932-4ede-ad91-867e883fbe46" providerId="ADAL" clId="{090785AB-5754-4084-A821-0DCC1536D9DF}" dt="2019-11-24T15:25:37.321" v="8871"/>
        <pc:sldMkLst>
          <pc:docMk/>
          <pc:sldMk cId="1037788803" sldId="555"/>
        </pc:sldMkLst>
        <pc:spChg chg="mod">
          <ac:chgData name="Jack Tracey" userId="98dee47e-7932-4ede-ad91-867e883fbe46" providerId="ADAL" clId="{090785AB-5754-4084-A821-0DCC1536D9DF}" dt="2019-11-22T13:20:14.052" v="1634" actId="14100"/>
          <ac:spMkLst>
            <pc:docMk/>
            <pc:sldMk cId="1037788803" sldId="555"/>
            <ac:spMk id="8" creationId="{022A2DF9-416C-4715-A4CE-B77A82E740E9}"/>
          </ac:spMkLst>
        </pc:spChg>
        <pc:spChg chg="mod">
          <ac:chgData name="Jack Tracey" userId="98dee47e-7932-4ede-ad91-867e883fbe46" providerId="ADAL" clId="{090785AB-5754-4084-A821-0DCC1536D9DF}" dt="2019-11-22T13:20:06.498" v="1632" actId="20577"/>
          <ac:spMkLst>
            <pc:docMk/>
            <pc:sldMk cId="1037788803" sldId="555"/>
            <ac:spMk id="9" creationId="{2448901E-48B7-4417-BBB0-4E51F689A76D}"/>
          </ac:spMkLst>
        </pc:spChg>
        <pc:spChg chg="mod">
          <ac:chgData name="Jack Tracey" userId="98dee47e-7932-4ede-ad91-867e883fbe46" providerId="ADAL" clId="{090785AB-5754-4084-A821-0DCC1536D9DF}" dt="2019-11-23T14:38:25.663" v="6564" actId="6549"/>
          <ac:spMkLst>
            <pc:docMk/>
            <pc:sldMk cId="1037788803" sldId="555"/>
            <ac:spMk id="10" creationId="{1B800DE3-CF57-4603-8854-4529CC0A5DD9}"/>
          </ac:spMkLst>
        </pc:spChg>
        <pc:picChg chg="add mod">
          <ac:chgData name="Jack Tracey" userId="98dee47e-7932-4ede-ad91-867e883fbe46" providerId="ADAL" clId="{090785AB-5754-4084-A821-0DCC1536D9DF}" dt="2019-11-23T16:23:13.911" v="7239" actId="1076"/>
          <ac:picMkLst>
            <pc:docMk/>
            <pc:sldMk cId="1037788803" sldId="555"/>
            <ac:picMk id="2" creationId="{09D7D96A-E092-4238-B123-D4F60C148E00}"/>
          </ac:picMkLst>
        </pc:picChg>
        <pc:picChg chg="del">
          <ac:chgData name="Jack Tracey" userId="98dee47e-7932-4ede-ad91-867e883fbe46" providerId="ADAL" clId="{090785AB-5754-4084-A821-0DCC1536D9DF}" dt="2019-11-22T13:21:25.681" v="1636" actId="478"/>
          <ac:picMkLst>
            <pc:docMk/>
            <pc:sldMk cId="1037788803" sldId="555"/>
            <ac:picMk id="3" creationId="{5F94FCC9-33ED-4F75-BC10-6B685DD88B6E}"/>
          </ac:picMkLst>
        </pc:picChg>
        <pc:picChg chg="del mod">
          <ac:chgData name="Jack Tracey" userId="98dee47e-7932-4ede-ad91-867e883fbe46" providerId="ADAL" clId="{090785AB-5754-4084-A821-0DCC1536D9DF}" dt="2019-11-22T13:21:29.142" v="1638" actId="478"/>
          <ac:picMkLst>
            <pc:docMk/>
            <pc:sldMk cId="1037788803" sldId="555"/>
            <ac:picMk id="5" creationId="{6336498D-5AEF-42A3-B193-212A21EA6941}"/>
          </ac:picMkLst>
        </pc:picChg>
        <pc:picChg chg="del">
          <ac:chgData name="Jack Tracey" userId="98dee47e-7932-4ede-ad91-867e883fbe46" providerId="ADAL" clId="{090785AB-5754-4084-A821-0DCC1536D9DF}" dt="2019-11-22T13:21:25.174" v="1635" actId="478"/>
          <ac:picMkLst>
            <pc:docMk/>
            <pc:sldMk cId="1037788803" sldId="555"/>
            <ac:picMk id="6" creationId="{FFF7C835-D03A-47B1-9DC8-BA3E087466D5}"/>
          </ac:picMkLst>
        </pc:picChg>
        <pc:picChg chg="add">
          <ac:chgData name="Jack Tracey" userId="98dee47e-7932-4ede-ad91-867e883fbe46" providerId="ADAL" clId="{090785AB-5754-4084-A821-0DCC1536D9DF}" dt="2019-11-22T13:21:32.047" v="1639"/>
          <ac:picMkLst>
            <pc:docMk/>
            <pc:sldMk cId="1037788803" sldId="555"/>
            <ac:picMk id="11" creationId="{12001C5A-B84C-4326-90E9-93AF6F9F9EF4}"/>
          </ac:picMkLst>
        </pc:picChg>
      </pc:sldChg>
      <pc:sldChg chg="modSp add modTransition modAnim">
        <pc:chgData name="Jack Tracey" userId="98dee47e-7932-4ede-ad91-867e883fbe46" providerId="ADAL" clId="{090785AB-5754-4084-A821-0DCC1536D9DF}" dt="2019-11-24T15:25:37.321" v="8871"/>
        <pc:sldMkLst>
          <pc:docMk/>
          <pc:sldMk cId="685333262" sldId="556"/>
        </pc:sldMkLst>
        <pc:spChg chg="mod">
          <ac:chgData name="Jack Tracey" userId="98dee47e-7932-4ede-ad91-867e883fbe46" providerId="ADAL" clId="{090785AB-5754-4084-A821-0DCC1536D9DF}" dt="2019-11-22T13:51:51.437" v="2341" actId="14100"/>
          <ac:spMkLst>
            <pc:docMk/>
            <pc:sldMk cId="685333262" sldId="556"/>
            <ac:spMk id="8" creationId="{022A2DF9-416C-4715-A4CE-B77A82E740E9}"/>
          </ac:spMkLst>
        </pc:spChg>
        <pc:spChg chg="mod">
          <ac:chgData name="Jack Tracey" userId="98dee47e-7932-4ede-ad91-867e883fbe46" providerId="ADAL" clId="{090785AB-5754-4084-A821-0DCC1536D9DF}" dt="2019-11-22T13:51:46.727" v="2339" actId="20577"/>
          <ac:spMkLst>
            <pc:docMk/>
            <pc:sldMk cId="685333262" sldId="556"/>
            <ac:spMk id="9" creationId="{2448901E-48B7-4417-BBB0-4E51F689A76D}"/>
          </ac:spMkLst>
        </pc:spChg>
        <pc:spChg chg="mod">
          <ac:chgData name="Jack Tracey" userId="98dee47e-7932-4ede-ad91-867e883fbe46" providerId="ADAL" clId="{090785AB-5754-4084-A821-0DCC1536D9DF}" dt="2019-11-23T17:05:00.833" v="7829" actId="1076"/>
          <ac:spMkLst>
            <pc:docMk/>
            <pc:sldMk cId="685333262" sldId="556"/>
            <ac:spMk id="10" creationId="{1B800DE3-CF57-4603-8854-4529CC0A5DD9}"/>
          </ac:spMkLst>
        </pc:spChg>
      </pc:sldChg>
      <pc:sldChg chg="modSp add modTransition modAnim">
        <pc:chgData name="Jack Tracey" userId="98dee47e-7932-4ede-ad91-867e883fbe46" providerId="ADAL" clId="{090785AB-5754-4084-A821-0DCC1536D9DF}" dt="2019-11-24T15:25:37.321" v="8871"/>
        <pc:sldMkLst>
          <pc:docMk/>
          <pc:sldMk cId="1612880849" sldId="557"/>
        </pc:sldMkLst>
        <pc:spChg chg="mod">
          <ac:chgData name="Jack Tracey" userId="98dee47e-7932-4ede-ad91-867e883fbe46" providerId="ADAL" clId="{090785AB-5754-4084-A821-0DCC1536D9DF}" dt="2019-11-22T16:16:01.309" v="2632" actId="20577"/>
          <ac:spMkLst>
            <pc:docMk/>
            <pc:sldMk cId="1612880849" sldId="557"/>
            <ac:spMk id="9" creationId="{2448901E-48B7-4417-BBB0-4E51F689A76D}"/>
          </ac:spMkLst>
        </pc:spChg>
        <pc:spChg chg="mod">
          <ac:chgData name="Jack Tracey" userId="98dee47e-7932-4ede-ad91-867e883fbe46" providerId="ADAL" clId="{090785AB-5754-4084-A821-0DCC1536D9DF}" dt="2019-11-23T17:28:56.473" v="7924" actId="1076"/>
          <ac:spMkLst>
            <pc:docMk/>
            <pc:sldMk cId="1612880849" sldId="557"/>
            <ac:spMk id="10" creationId="{1B800DE3-CF57-4603-8854-4529CC0A5DD9}"/>
          </ac:spMkLst>
        </pc:spChg>
      </pc:sldChg>
      <pc:sldChg chg="modSp add modTransition modAnim">
        <pc:chgData name="Jack Tracey" userId="98dee47e-7932-4ede-ad91-867e883fbe46" providerId="ADAL" clId="{090785AB-5754-4084-A821-0DCC1536D9DF}" dt="2019-11-24T15:25:37.321" v="8871"/>
        <pc:sldMkLst>
          <pc:docMk/>
          <pc:sldMk cId="1618373852" sldId="558"/>
        </pc:sldMkLst>
        <pc:spChg chg="mod">
          <ac:chgData name="Jack Tracey" userId="98dee47e-7932-4ede-ad91-867e883fbe46" providerId="ADAL" clId="{090785AB-5754-4084-A821-0DCC1536D9DF}" dt="2019-11-22T16:25:43.631" v="3200" actId="20577"/>
          <ac:spMkLst>
            <pc:docMk/>
            <pc:sldMk cId="1618373852" sldId="558"/>
            <ac:spMk id="9" creationId="{2448901E-48B7-4417-BBB0-4E51F689A76D}"/>
          </ac:spMkLst>
        </pc:spChg>
        <pc:spChg chg="mod">
          <ac:chgData name="Jack Tracey" userId="98dee47e-7932-4ede-ad91-867e883fbe46" providerId="ADAL" clId="{090785AB-5754-4084-A821-0DCC1536D9DF}" dt="2019-11-24T11:39:52.808" v="8683" actId="6549"/>
          <ac:spMkLst>
            <pc:docMk/>
            <pc:sldMk cId="1618373852" sldId="558"/>
            <ac:spMk id="10" creationId="{1B800DE3-CF57-4603-8854-4529CC0A5DD9}"/>
          </ac:spMkLst>
        </pc:spChg>
      </pc:sldChg>
      <pc:sldChg chg="modSp add modTransition modAnim">
        <pc:chgData name="Jack Tracey" userId="98dee47e-7932-4ede-ad91-867e883fbe46" providerId="ADAL" clId="{090785AB-5754-4084-A821-0DCC1536D9DF}" dt="2019-11-24T15:25:37.321" v="8871"/>
        <pc:sldMkLst>
          <pc:docMk/>
          <pc:sldMk cId="897384562" sldId="559"/>
        </pc:sldMkLst>
        <pc:spChg chg="mod">
          <ac:chgData name="Jack Tracey" userId="98dee47e-7932-4ede-ad91-867e883fbe46" providerId="ADAL" clId="{090785AB-5754-4084-A821-0DCC1536D9DF}" dt="2019-11-22T17:16:52.669" v="4627" actId="14100"/>
          <ac:spMkLst>
            <pc:docMk/>
            <pc:sldMk cId="897384562" sldId="559"/>
            <ac:spMk id="8" creationId="{022A2DF9-416C-4715-A4CE-B77A82E740E9}"/>
          </ac:spMkLst>
        </pc:spChg>
        <pc:spChg chg="mod">
          <ac:chgData name="Jack Tracey" userId="98dee47e-7932-4ede-ad91-867e883fbe46" providerId="ADAL" clId="{090785AB-5754-4084-A821-0DCC1536D9DF}" dt="2019-11-22T16:51:44.528" v="3928" actId="20577"/>
          <ac:spMkLst>
            <pc:docMk/>
            <pc:sldMk cId="897384562" sldId="559"/>
            <ac:spMk id="9" creationId="{2448901E-48B7-4417-BBB0-4E51F689A76D}"/>
          </ac:spMkLst>
        </pc:spChg>
        <pc:spChg chg="mod">
          <ac:chgData name="Jack Tracey" userId="98dee47e-7932-4ede-ad91-867e883fbe46" providerId="ADAL" clId="{090785AB-5754-4084-A821-0DCC1536D9DF}" dt="2019-11-22T17:35:37.217" v="4733" actId="1076"/>
          <ac:spMkLst>
            <pc:docMk/>
            <pc:sldMk cId="897384562" sldId="559"/>
            <ac:spMk id="10" creationId="{1B800DE3-CF57-4603-8854-4529CC0A5DD9}"/>
          </ac:spMkLst>
        </pc:spChg>
      </pc:sldChg>
      <pc:sldChg chg="modSp add del">
        <pc:chgData name="Jack Tracey" userId="98dee47e-7932-4ede-ad91-867e883fbe46" providerId="ADAL" clId="{090785AB-5754-4084-A821-0DCC1536D9DF}" dt="2019-11-22T16:35:38.879" v="3797"/>
        <pc:sldMkLst>
          <pc:docMk/>
          <pc:sldMk cId="3320338031" sldId="559"/>
        </pc:sldMkLst>
        <pc:spChg chg="mod">
          <ac:chgData name="Jack Tracey" userId="98dee47e-7932-4ede-ad91-867e883fbe46" providerId="ADAL" clId="{090785AB-5754-4084-A821-0DCC1536D9DF}" dt="2019-11-22T16:35:38.879" v="3797"/>
          <ac:spMkLst>
            <pc:docMk/>
            <pc:sldMk cId="3320338031" sldId="559"/>
            <ac:spMk id="3" creationId="{9ABE03B1-4504-415A-AFEF-5BC86E27D0CF}"/>
          </ac:spMkLst>
        </pc:spChg>
        <pc:spChg chg="mod">
          <ac:chgData name="Jack Tracey" userId="98dee47e-7932-4ede-ad91-867e883fbe46" providerId="ADAL" clId="{090785AB-5754-4084-A821-0DCC1536D9DF}" dt="2019-11-22T16:35:38.879" v="3797"/>
          <ac:spMkLst>
            <pc:docMk/>
            <pc:sldMk cId="3320338031" sldId="559"/>
            <ac:spMk id="4" creationId="{EB3AC6E8-218C-486E-A9AC-269C753A51C7}"/>
          </ac:spMkLst>
        </pc:spChg>
      </pc:sldChg>
      <pc:sldChg chg="modSp add modTransition modAnim">
        <pc:chgData name="Jack Tracey" userId="98dee47e-7932-4ede-ad91-867e883fbe46" providerId="ADAL" clId="{090785AB-5754-4084-A821-0DCC1536D9DF}" dt="2019-11-24T15:25:37.321" v="8871"/>
        <pc:sldMkLst>
          <pc:docMk/>
          <pc:sldMk cId="2172853092" sldId="560"/>
        </pc:sldMkLst>
        <pc:spChg chg="mod">
          <ac:chgData name="Jack Tracey" userId="98dee47e-7932-4ede-ad91-867e883fbe46" providerId="ADAL" clId="{090785AB-5754-4084-A821-0DCC1536D9DF}" dt="2019-11-22T17:36:20.307" v="4762" actId="14100"/>
          <ac:spMkLst>
            <pc:docMk/>
            <pc:sldMk cId="2172853092" sldId="560"/>
            <ac:spMk id="8" creationId="{022A2DF9-416C-4715-A4CE-B77A82E740E9}"/>
          </ac:spMkLst>
        </pc:spChg>
        <pc:spChg chg="mod">
          <ac:chgData name="Jack Tracey" userId="98dee47e-7932-4ede-ad91-867e883fbe46" providerId="ADAL" clId="{090785AB-5754-4084-A821-0DCC1536D9DF}" dt="2019-11-22T17:36:16.774" v="4761" actId="20577"/>
          <ac:spMkLst>
            <pc:docMk/>
            <pc:sldMk cId="2172853092" sldId="560"/>
            <ac:spMk id="9" creationId="{2448901E-48B7-4417-BBB0-4E51F689A76D}"/>
          </ac:spMkLst>
        </pc:spChg>
        <pc:spChg chg="mod">
          <ac:chgData name="Jack Tracey" userId="98dee47e-7932-4ede-ad91-867e883fbe46" providerId="ADAL" clId="{090785AB-5754-4084-A821-0DCC1536D9DF}" dt="2019-11-24T15:25:10.827" v="8870" actId="1076"/>
          <ac:spMkLst>
            <pc:docMk/>
            <pc:sldMk cId="2172853092" sldId="560"/>
            <ac:spMk id="10" creationId="{1B800DE3-CF57-4603-8854-4529CC0A5DD9}"/>
          </ac:spMkLst>
        </pc:spChg>
      </pc:sldChg>
      <pc:sldChg chg="addSp delSp modSp add modTransition modAnim">
        <pc:chgData name="Jack Tracey" userId="98dee47e-7932-4ede-ad91-867e883fbe46" providerId="ADAL" clId="{090785AB-5754-4084-A821-0DCC1536D9DF}" dt="2019-11-24T15:25:37.321" v="8871"/>
        <pc:sldMkLst>
          <pc:docMk/>
          <pc:sldMk cId="847187867" sldId="561"/>
        </pc:sldMkLst>
        <pc:spChg chg="mod">
          <ac:chgData name="Jack Tracey" userId="98dee47e-7932-4ede-ad91-867e883fbe46" providerId="ADAL" clId="{090785AB-5754-4084-A821-0DCC1536D9DF}" dt="2019-11-22T17:48:02.119" v="5124" actId="14100"/>
          <ac:spMkLst>
            <pc:docMk/>
            <pc:sldMk cId="847187867" sldId="561"/>
            <ac:spMk id="8" creationId="{022A2DF9-416C-4715-A4CE-B77A82E740E9}"/>
          </ac:spMkLst>
        </pc:spChg>
        <pc:spChg chg="mod">
          <ac:chgData name="Jack Tracey" userId="98dee47e-7932-4ede-ad91-867e883fbe46" providerId="ADAL" clId="{090785AB-5754-4084-A821-0DCC1536D9DF}" dt="2019-11-22T17:47:58.490" v="5123" actId="20577"/>
          <ac:spMkLst>
            <pc:docMk/>
            <pc:sldMk cId="847187867" sldId="561"/>
            <ac:spMk id="9" creationId="{2448901E-48B7-4417-BBB0-4E51F689A76D}"/>
          </ac:spMkLst>
        </pc:spChg>
        <pc:spChg chg="add del mod">
          <ac:chgData name="Jack Tracey" userId="98dee47e-7932-4ede-ad91-867e883fbe46" providerId="ADAL" clId="{090785AB-5754-4084-A821-0DCC1536D9DF}" dt="2019-11-23T13:44:07.826" v="6078" actId="1076"/>
          <ac:spMkLst>
            <pc:docMk/>
            <pc:sldMk cId="847187867" sldId="561"/>
            <ac:spMk id="10" creationId="{1B800DE3-CF57-4603-8854-4529CC0A5DD9}"/>
          </ac:spMkLst>
        </pc:spChg>
        <pc:picChg chg="add del">
          <ac:chgData name="Jack Tracey" userId="98dee47e-7932-4ede-ad91-867e883fbe46" providerId="ADAL" clId="{090785AB-5754-4084-A821-0DCC1536D9DF}" dt="2019-11-22T17:49:22.955" v="5269"/>
          <ac:picMkLst>
            <pc:docMk/>
            <pc:sldMk cId="847187867" sldId="561"/>
            <ac:picMk id="7170" creationId="{8085FC87-6532-4A55-ABC0-5CA568886BDF}"/>
          </ac:picMkLst>
        </pc:picChg>
      </pc:sldChg>
      <pc:sldChg chg="modSp add del">
        <pc:chgData name="Jack Tracey" userId="98dee47e-7932-4ede-ad91-867e883fbe46" providerId="ADAL" clId="{090785AB-5754-4084-A821-0DCC1536D9DF}" dt="2019-11-22T17:42:59.204" v="4983"/>
        <pc:sldMkLst>
          <pc:docMk/>
          <pc:sldMk cId="898205229" sldId="561"/>
        </pc:sldMkLst>
        <pc:spChg chg="mod">
          <ac:chgData name="Jack Tracey" userId="98dee47e-7932-4ede-ad91-867e883fbe46" providerId="ADAL" clId="{090785AB-5754-4084-A821-0DCC1536D9DF}" dt="2019-11-22T17:42:59.204" v="4983"/>
          <ac:spMkLst>
            <pc:docMk/>
            <pc:sldMk cId="898205229" sldId="561"/>
            <ac:spMk id="3" creationId="{71E516DA-F66E-4C77-B88C-2F9A18D80476}"/>
          </ac:spMkLst>
        </pc:spChg>
        <pc:spChg chg="mod">
          <ac:chgData name="Jack Tracey" userId="98dee47e-7932-4ede-ad91-867e883fbe46" providerId="ADAL" clId="{090785AB-5754-4084-A821-0DCC1536D9DF}" dt="2019-11-22T17:42:59.204" v="4983"/>
          <ac:spMkLst>
            <pc:docMk/>
            <pc:sldMk cId="898205229" sldId="561"/>
            <ac:spMk id="4" creationId="{F870C6E4-6B0C-4972-8C56-0EC3E45F59C1}"/>
          </ac:spMkLst>
        </pc:spChg>
      </pc:sldChg>
      <pc:sldChg chg="modSp add modTransition modAnim">
        <pc:chgData name="Jack Tracey" userId="98dee47e-7932-4ede-ad91-867e883fbe46" providerId="ADAL" clId="{090785AB-5754-4084-A821-0DCC1536D9DF}" dt="2019-11-24T15:25:37.321" v="8871"/>
        <pc:sldMkLst>
          <pc:docMk/>
          <pc:sldMk cId="3542078431" sldId="562"/>
        </pc:sldMkLst>
        <pc:spChg chg="mod">
          <ac:chgData name="Jack Tracey" userId="98dee47e-7932-4ede-ad91-867e883fbe46" providerId="ADAL" clId="{090785AB-5754-4084-A821-0DCC1536D9DF}" dt="2019-11-22T17:53:22.040" v="5570" actId="14100"/>
          <ac:spMkLst>
            <pc:docMk/>
            <pc:sldMk cId="3542078431" sldId="562"/>
            <ac:spMk id="8" creationId="{022A2DF9-416C-4715-A4CE-B77A82E740E9}"/>
          </ac:spMkLst>
        </pc:spChg>
        <pc:spChg chg="mod">
          <ac:chgData name="Jack Tracey" userId="98dee47e-7932-4ede-ad91-867e883fbe46" providerId="ADAL" clId="{090785AB-5754-4084-A821-0DCC1536D9DF}" dt="2019-11-22T17:53:18.218" v="5569" actId="20577"/>
          <ac:spMkLst>
            <pc:docMk/>
            <pc:sldMk cId="3542078431" sldId="562"/>
            <ac:spMk id="9" creationId="{2448901E-48B7-4417-BBB0-4E51F689A76D}"/>
          </ac:spMkLst>
        </pc:spChg>
        <pc:spChg chg="mod">
          <ac:chgData name="Jack Tracey" userId="98dee47e-7932-4ede-ad91-867e883fbe46" providerId="ADAL" clId="{090785AB-5754-4084-A821-0DCC1536D9DF}" dt="2019-11-23T13:43:28.841" v="6075" actId="403"/>
          <ac:spMkLst>
            <pc:docMk/>
            <pc:sldMk cId="3542078431" sldId="562"/>
            <ac:spMk id="10" creationId="{1B800DE3-CF57-4603-8854-4529CC0A5DD9}"/>
          </ac:spMkLst>
        </pc:spChg>
      </pc:sldChg>
      <pc:sldChg chg="modSp add ord modTransition modAnim">
        <pc:chgData name="Jack Tracey" userId="98dee47e-7932-4ede-ad91-867e883fbe46" providerId="ADAL" clId="{090785AB-5754-4084-A821-0DCC1536D9DF}" dt="2019-11-24T15:25:37.321" v="8871"/>
        <pc:sldMkLst>
          <pc:docMk/>
          <pc:sldMk cId="1270121980" sldId="563"/>
        </pc:sldMkLst>
        <pc:spChg chg="mod">
          <ac:chgData name="Jack Tracey" userId="98dee47e-7932-4ede-ad91-867e883fbe46" providerId="ADAL" clId="{090785AB-5754-4084-A821-0DCC1536D9DF}" dt="2019-11-22T17:53:35.185" v="5591" actId="20577"/>
          <ac:spMkLst>
            <pc:docMk/>
            <pc:sldMk cId="1270121980" sldId="563"/>
            <ac:spMk id="9" creationId="{2448901E-48B7-4417-BBB0-4E51F689A76D}"/>
          </ac:spMkLst>
        </pc:spChg>
        <pc:spChg chg="mod">
          <ac:chgData name="Jack Tracey" userId="98dee47e-7932-4ede-ad91-867e883fbe46" providerId="ADAL" clId="{090785AB-5754-4084-A821-0DCC1536D9DF}" dt="2019-11-23T13:55:02.013" v="6476" actId="404"/>
          <ac:spMkLst>
            <pc:docMk/>
            <pc:sldMk cId="1270121980" sldId="563"/>
            <ac:spMk id="10" creationId="{1B800DE3-CF57-4603-8854-4529CC0A5DD9}"/>
          </ac:spMkLst>
        </pc:spChg>
      </pc:sldChg>
      <pc:sldChg chg="delSp modSp add modTransition modAnim">
        <pc:chgData name="Jack Tracey" userId="98dee47e-7932-4ede-ad91-867e883fbe46" providerId="ADAL" clId="{090785AB-5754-4084-A821-0DCC1536D9DF}" dt="2019-11-24T15:25:37.321" v="8871"/>
        <pc:sldMkLst>
          <pc:docMk/>
          <pc:sldMk cId="2077351714" sldId="564"/>
        </pc:sldMkLst>
        <pc:spChg chg="del">
          <ac:chgData name="Jack Tracey" userId="98dee47e-7932-4ede-ad91-867e883fbe46" providerId="ADAL" clId="{090785AB-5754-4084-A821-0DCC1536D9DF}" dt="2019-11-24T12:13:50.190" v="8762"/>
          <ac:spMkLst>
            <pc:docMk/>
            <pc:sldMk cId="2077351714" sldId="564"/>
            <ac:spMk id="2" creationId="{5BE6AD5E-76E6-473E-9274-E3467A7D3628}"/>
          </ac:spMkLst>
        </pc:spChg>
        <pc:spChg chg="mod">
          <ac:chgData name="Jack Tracey" userId="98dee47e-7932-4ede-ad91-867e883fbe46" providerId="ADAL" clId="{090785AB-5754-4084-A821-0DCC1536D9DF}" dt="2019-11-22T17:53:49.869" v="5606" actId="20577"/>
          <ac:spMkLst>
            <pc:docMk/>
            <pc:sldMk cId="2077351714" sldId="564"/>
            <ac:spMk id="9" creationId="{2448901E-48B7-4417-BBB0-4E51F689A76D}"/>
          </ac:spMkLst>
        </pc:spChg>
        <pc:spChg chg="mod">
          <ac:chgData name="Jack Tracey" userId="98dee47e-7932-4ede-ad91-867e883fbe46" providerId="ADAL" clId="{090785AB-5754-4084-A821-0DCC1536D9DF}" dt="2019-11-23T15:03:50.522" v="6849" actId="1076"/>
          <ac:spMkLst>
            <pc:docMk/>
            <pc:sldMk cId="2077351714" sldId="564"/>
            <ac:spMk id="10" creationId="{1B800DE3-CF57-4603-8854-4529CC0A5DD9}"/>
          </ac:spMkLst>
        </pc:spChg>
      </pc:sldChg>
      <pc:sldChg chg="addSp delSp modSp del modTransition setBg modNotesTx">
        <pc:chgData name="Jack Tracey" userId="98dee47e-7932-4ede-ad91-867e883fbe46" providerId="ADAL" clId="{090785AB-5754-4084-A821-0DCC1536D9DF}" dt="2019-11-24T15:25:37.321" v="8871"/>
        <pc:sldMkLst>
          <pc:docMk/>
          <pc:sldMk cId="235180100" sldId="2047"/>
        </pc:sldMkLst>
        <pc:spChg chg="del mod">
          <ac:chgData name="Jack Tracey" userId="98dee47e-7932-4ede-ad91-867e883fbe46" providerId="ADAL" clId="{090785AB-5754-4084-A821-0DCC1536D9DF}" dt="2019-11-24T10:59:23.849" v="8165" actId="478"/>
          <ac:spMkLst>
            <pc:docMk/>
            <pc:sldMk cId="235180100" sldId="2047"/>
            <ac:spMk id="2" creationId="{EFB886AF-6172-4C0A-BB7E-D538BA8BD392}"/>
          </ac:spMkLst>
        </pc:spChg>
        <pc:spChg chg="add del mod">
          <ac:chgData name="Jack Tracey" userId="98dee47e-7932-4ede-ad91-867e883fbe46" providerId="ADAL" clId="{090785AB-5754-4084-A821-0DCC1536D9DF}" dt="2019-11-24T10:59:25.510" v="8166" actId="478"/>
          <ac:spMkLst>
            <pc:docMk/>
            <pc:sldMk cId="235180100" sldId="2047"/>
            <ac:spMk id="6" creationId="{0C88BBC8-2EB0-43E4-9A60-B614677932CD}"/>
          </ac:spMkLst>
        </pc:spChg>
        <pc:spChg chg="mod">
          <ac:chgData name="Jack Tracey" userId="98dee47e-7932-4ede-ad91-867e883fbe46" providerId="ADAL" clId="{090785AB-5754-4084-A821-0DCC1536D9DF}" dt="2019-11-24T10:59:48.950" v="8200" actId="1076"/>
          <ac:spMkLst>
            <pc:docMk/>
            <pc:sldMk cId="235180100" sldId="2047"/>
            <ac:spMk id="7" creationId="{B1DEFFAA-1E2D-4D2F-B554-AE10BAB4151E}"/>
          </ac:spMkLst>
        </pc:spChg>
        <pc:spChg chg="add">
          <ac:chgData name="Jack Tracey" userId="98dee47e-7932-4ede-ad91-867e883fbe46" providerId="ADAL" clId="{090785AB-5754-4084-A821-0DCC1536D9DF}" dt="2019-11-24T10:59:26.461" v="8167"/>
          <ac:spMkLst>
            <pc:docMk/>
            <pc:sldMk cId="235180100" sldId="2047"/>
            <ac:spMk id="10" creationId="{7BDD1943-D864-4340-8906-09B964118FC5}"/>
          </ac:spMkLst>
        </pc:spChg>
        <pc:spChg chg="add mod">
          <ac:chgData name="Jack Tracey" userId="98dee47e-7932-4ede-ad91-867e883fbe46" providerId="ADAL" clId="{090785AB-5754-4084-A821-0DCC1536D9DF}" dt="2019-11-24T10:59:36.552" v="8198" actId="20577"/>
          <ac:spMkLst>
            <pc:docMk/>
            <pc:sldMk cId="235180100" sldId="2047"/>
            <ac:spMk id="11" creationId="{A591EA16-FFFC-42DE-88F1-652C4F8E3C9F}"/>
          </ac:spMkLst>
        </pc:spChg>
        <pc:graphicFrameChg chg="mod">
          <ac:chgData name="Jack Tracey" userId="98dee47e-7932-4ede-ad91-867e883fbe46" providerId="ADAL" clId="{090785AB-5754-4084-A821-0DCC1536D9DF}" dt="2019-11-24T10:59:58.404" v="8242" actId="1037"/>
          <ac:graphicFrameMkLst>
            <pc:docMk/>
            <pc:sldMk cId="235180100" sldId="2047"/>
            <ac:graphicFrameMk id="4" creationId="{9F1077DA-4753-4D17-A877-62C8B3F8595D}"/>
          </ac:graphicFrameMkLst>
        </pc:graphicFrameChg>
        <pc:graphicFrameChg chg="mod modGraphic">
          <ac:chgData name="Jack Tracey" userId="98dee47e-7932-4ede-ad91-867e883fbe46" providerId="ADAL" clId="{090785AB-5754-4084-A821-0DCC1536D9DF}" dt="2019-11-24T11:00:24.030" v="8276" actId="1035"/>
          <ac:graphicFrameMkLst>
            <pc:docMk/>
            <pc:sldMk cId="235180100" sldId="2047"/>
            <ac:graphicFrameMk id="9" creationId="{E3EBD292-57C9-4564-97C9-32FCDA5B62FB}"/>
          </ac:graphicFrameMkLst>
        </pc:graphicFrameChg>
        <pc:picChg chg="add">
          <ac:chgData name="Jack Tracey" userId="98dee47e-7932-4ede-ad91-867e883fbe46" providerId="ADAL" clId="{090785AB-5754-4084-A821-0DCC1536D9DF}" dt="2019-11-24T10:59:26.461" v="8167"/>
          <ac:picMkLst>
            <pc:docMk/>
            <pc:sldMk cId="235180100" sldId="2047"/>
            <ac:picMk id="12" creationId="{EE10CE55-DCF5-48E6-AF2A-A844B1B5417B}"/>
          </ac:picMkLst>
        </pc:picChg>
      </pc:sldChg>
      <pc:sldChg chg="modSp modTransition">
        <pc:chgData name="Jack Tracey" userId="98dee47e-7932-4ede-ad91-867e883fbe46" providerId="ADAL" clId="{090785AB-5754-4084-A821-0DCC1536D9DF}" dt="2019-11-24T15:25:37.321" v="8871"/>
        <pc:sldMkLst>
          <pc:docMk/>
          <pc:sldMk cId="3502118698" sldId="2049"/>
        </pc:sldMkLst>
        <pc:spChg chg="mod">
          <ac:chgData name="Jack Tracey" userId="98dee47e-7932-4ede-ad91-867e883fbe46" providerId="ADAL" clId="{090785AB-5754-4084-A821-0DCC1536D9DF}" dt="2019-11-24T11:45:22.243" v="8733" actId="1076"/>
          <ac:spMkLst>
            <pc:docMk/>
            <pc:sldMk cId="3502118698" sldId="2049"/>
            <ac:spMk id="8" creationId="{946211B2-9128-4104-BD63-11C5E0256253}"/>
          </ac:spMkLst>
        </pc:spChg>
        <pc:graphicFrameChg chg="mod">
          <ac:chgData name="Jack Tracey" userId="98dee47e-7932-4ede-ad91-867e883fbe46" providerId="ADAL" clId="{090785AB-5754-4084-A821-0DCC1536D9DF}" dt="2019-11-24T11:45:13.436" v="8731" actId="1036"/>
          <ac:graphicFrameMkLst>
            <pc:docMk/>
            <pc:sldMk cId="3502118698" sldId="2049"/>
            <ac:graphicFrameMk id="5" creationId="{66A4447C-F45E-9843-8D12-20A0A64D0C31}"/>
          </ac:graphicFrameMkLst>
        </pc:graphicFrameChg>
      </pc:sldChg>
      <pc:sldChg chg="modTransition">
        <pc:chgData name="Jack Tracey" userId="98dee47e-7932-4ede-ad91-867e883fbe46" providerId="ADAL" clId="{090785AB-5754-4084-A821-0DCC1536D9DF}" dt="2019-11-24T15:25:37.321" v="8871"/>
        <pc:sldMkLst>
          <pc:docMk/>
          <pc:sldMk cId="2552901473" sldId="2062"/>
        </pc:sldMkLst>
      </pc:sldChg>
      <pc:sldChg chg="addSp delSp modSp add modTransition setBg modNotesTx">
        <pc:chgData name="Jack Tracey" userId="98dee47e-7932-4ede-ad91-867e883fbe46" providerId="ADAL" clId="{090785AB-5754-4084-A821-0DCC1536D9DF}" dt="2019-11-24T15:25:37.321" v="8871"/>
        <pc:sldMkLst>
          <pc:docMk/>
          <pc:sldMk cId="2416037277" sldId="2071"/>
        </pc:sldMkLst>
        <pc:spChg chg="del">
          <ac:chgData name="Jack Tracey" userId="98dee47e-7932-4ede-ad91-867e883fbe46" providerId="ADAL" clId="{090785AB-5754-4084-A821-0DCC1536D9DF}" dt="2019-11-24T11:00:35.373" v="8277" actId="478"/>
          <ac:spMkLst>
            <pc:docMk/>
            <pc:sldMk cId="2416037277" sldId="2071"/>
            <ac:spMk id="2" creationId="{1C7AD6D8-CDAD-4A58-8726-4F5AB22E3C57}"/>
          </ac:spMkLst>
        </pc:spChg>
        <pc:spChg chg="add del mod">
          <ac:chgData name="Jack Tracey" userId="98dee47e-7932-4ede-ad91-867e883fbe46" providerId="ADAL" clId="{090785AB-5754-4084-A821-0DCC1536D9DF}" dt="2019-11-24T11:00:37.580" v="8278" actId="478"/>
          <ac:spMkLst>
            <pc:docMk/>
            <pc:sldMk cId="2416037277" sldId="2071"/>
            <ac:spMk id="9" creationId="{97533492-EDED-4C9E-A59F-FA79633EE1A8}"/>
          </ac:spMkLst>
        </pc:spChg>
        <pc:spChg chg="mod">
          <ac:chgData name="Jack Tracey" userId="98dee47e-7932-4ede-ad91-867e883fbe46" providerId="ADAL" clId="{090785AB-5754-4084-A821-0DCC1536D9DF}" dt="2019-11-24T11:00:44.026" v="8280" actId="1076"/>
          <ac:spMkLst>
            <pc:docMk/>
            <pc:sldMk cId="2416037277" sldId="2071"/>
            <ac:spMk id="20" creationId="{AE20E3B8-861D-404B-ACCD-F016D7D6CE35}"/>
          </ac:spMkLst>
        </pc:spChg>
        <pc:spChg chg="add">
          <ac:chgData name="Jack Tracey" userId="98dee47e-7932-4ede-ad91-867e883fbe46" providerId="ADAL" clId="{090785AB-5754-4084-A821-0DCC1536D9DF}" dt="2019-11-24T11:00:37.925" v="8279"/>
          <ac:spMkLst>
            <pc:docMk/>
            <pc:sldMk cId="2416037277" sldId="2071"/>
            <ac:spMk id="21" creationId="{D9913AEC-774A-4E6F-AE12-4C4536E488DC}"/>
          </ac:spMkLst>
        </pc:spChg>
        <pc:spChg chg="add mod">
          <ac:chgData name="Jack Tracey" userId="98dee47e-7932-4ede-ad91-867e883fbe46" providerId="ADAL" clId="{090785AB-5754-4084-A821-0DCC1536D9DF}" dt="2019-11-24T11:00:50.303" v="8297" actId="20577"/>
          <ac:spMkLst>
            <pc:docMk/>
            <pc:sldMk cId="2416037277" sldId="2071"/>
            <ac:spMk id="22" creationId="{1382EDFB-FF68-4F99-855A-6E7770A9EB13}"/>
          </ac:spMkLst>
        </pc:spChg>
        <pc:picChg chg="add">
          <ac:chgData name="Jack Tracey" userId="98dee47e-7932-4ede-ad91-867e883fbe46" providerId="ADAL" clId="{090785AB-5754-4084-A821-0DCC1536D9DF}" dt="2019-11-24T11:00:37.925" v="8279"/>
          <ac:picMkLst>
            <pc:docMk/>
            <pc:sldMk cId="2416037277" sldId="2071"/>
            <ac:picMk id="24" creationId="{FB2550C6-99ED-4BF0-A14F-5AE357AA347F}"/>
          </ac:picMkLst>
        </pc:picChg>
      </pc:sldChg>
      <pc:sldChg chg="addSp delSp modSp modTransition">
        <pc:chgData name="Jack Tracey" userId="98dee47e-7932-4ede-ad91-867e883fbe46" providerId="ADAL" clId="{090785AB-5754-4084-A821-0DCC1536D9DF}" dt="2019-11-24T15:25:37.321" v="8871"/>
        <pc:sldMkLst>
          <pc:docMk/>
          <pc:sldMk cId="3119989687" sldId="2303"/>
        </pc:sldMkLst>
        <pc:spChg chg="add del">
          <ac:chgData name="Jack Tracey" userId="98dee47e-7932-4ede-ad91-867e883fbe46" providerId="ADAL" clId="{090785AB-5754-4084-A821-0DCC1536D9DF}" dt="2019-11-24T12:04:02.081" v="8735"/>
          <ac:spMkLst>
            <pc:docMk/>
            <pc:sldMk cId="3119989687" sldId="2303"/>
            <ac:spMk id="11" creationId="{86E08CE3-3F61-4E46-AF48-6323B3085663}"/>
          </ac:spMkLst>
        </pc:spChg>
        <pc:spChg chg="add del">
          <ac:chgData name="Jack Tracey" userId="98dee47e-7932-4ede-ad91-867e883fbe46" providerId="ADAL" clId="{090785AB-5754-4084-A821-0DCC1536D9DF}" dt="2019-11-24T12:04:02.081" v="8735"/>
          <ac:spMkLst>
            <pc:docMk/>
            <pc:sldMk cId="3119989687" sldId="2303"/>
            <ac:spMk id="12" creationId="{BCA92E04-B5EB-418D-9DF3-3C3387803423}"/>
          </ac:spMkLst>
        </pc:spChg>
        <pc:spChg chg="add">
          <ac:chgData name="Jack Tracey" userId="98dee47e-7932-4ede-ad91-867e883fbe46" providerId="ADAL" clId="{090785AB-5754-4084-A821-0DCC1536D9DF}" dt="2019-11-24T12:04:02.091" v="8736"/>
          <ac:spMkLst>
            <pc:docMk/>
            <pc:sldMk cId="3119989687" sldId="2303"/>
            <ac:spMk id="14" creationId="{33332FE0-9340-4A6A-83AC-40D947F9B6AF}"/>
          </ac:spMkLst>
        </pc:spChg>
        <pc:spChg chg="add mod">
          <ac:chgData name="Jack Tracey" userId="98dee47e-7932-4ede-ad91-867e883fbe46" providerId="ADAL" clId="{090785AB-5754-4084-A821-0DCC1536D9DF}" dt="2019-11-24T12:04:08.801" v="8761" actId="20577"/>
          <ac:spMkLst>
            <pc:docMk/>
            <pc:sldMk cId="3119989687" sldId="2303"/>
            <ac:spMk id="15" creationId="{F6A59769-5C7B-4899-9CAC-1C5CF4591496}"/>
          </ac:spMkLst>
        </pc:spChg>
        <pc:picChg chg="add del">
          <ac:chgData name="Jack Tracey" userId="98dee47e-7932-4ede-ad91-867e883fbe46" providerId="ADAL" clId="{090785AB-5754-4084-A821-0DCC1536D9DF}" dt="2019-11-24T12:04:02.081" v="8735"/>
          <ac:picMkLst>
            <pc:docMk/>
            <pc:sldMk cId="3119989687" sldId="2303"/>
            <ac:picMk id="13" creationId="{4AC63758-8C71-4E40-8B6C-D611C309CD1B}"/>
          </ac:picMkLst>
        </pc:picChg>
        <pc:picChg chg="add">
          <ac:chgData name="Jack Tracey" userId="98dee47e-7932-4ede-ad91-867e883fbe46" providerId="ADAL" clId="{090785AB-5754-4084-A821-0DCC1536D9DF}" dt="2019-11-24T12:04:02.091" v="8736"/>
          <ac:picMkLst>
            <pc:docMk/>
            <pc:sldMk cId="3119989687" sldId="2303"/>
            <ac:picMk id="16" creationId="{0AA8509B-8306-4566-991E-EA50A88A52C1}"/>
          </ac:picMkLst>
        </pc:picChg>
      </pc:sldChg>
      <pc:sldChg chg="modSp modTransition">
        <pc:chgData name="Jack Tracey" userId="98dee47e-7932-4ede-ad91-867e883fbe46" providerId="ADAL" clId="{090785AB-5754-4084-A821-0DCC1536D9DF}" dt="2019-11-24T15:25:37.321" v="8871"/>
        <pc:sldMkLst>
          <pc:docMk/>
          <pc:sldMk cId="451266579" sldId="4383"/>
        </pc:sldMkLst>
        <pc:spChg chg="mod">
          <ac:chgData name="Jack Tracey" userId="98dee47e-7932-4ede-ad91-867e883fbe46" providerId="ADAL" clId="{090785AB-5754-4084-A821-0DCC1536D9DF}" dt="2019-11-24T12:20:31.841" v="8763" actId="6549"/>
          <ac:spMkLst>
            <pc:docMk/>
            <pc:sldMk cId="451266579" sldId="4383"/>
            <ac:spMk id="61" creationId="{6926F940-CE07-4E63-B5C1-5939A011419B}"/>
          </ac:spMkLst>
        </pc:spChg>
      </pc:sldChg>
      <pc:sldChg chg="modTransition">
        <pc:chgData name="Jack Tracey" userId="98dee47e-7932-4ede-ad91-867e883fbe46" providerId="ADAL" clId="{090785AB-5754-4084-A821-0DCC1536D9DF}" dt="2019-11-24T15:25:37.321" v="8871"/>
        <pc:sldMkLst>
          <pc:docMk/>
          <pc:sldMk cId="2698731548" sldId="8962"/>
        </pc:sldMkLst>
      </pc:sldChg>
      <pc:sldChg chg="modTransition">
        <pc:chgData name="Jack Tracey" userId="98dee47e-7932-4ede-ad91-867e883fbe46" providerId="ADAL" clId="{090785AB-5754-4084-A821-0DCC1536D9DF}" dt="2019-11-24T15:25:37.321" v="8871"/>
        <pc:sldMkLst>
          <pc:docMk/>
          <pc:sldMk cId="2039096552" sldId="10144"/>
        </pc:sldMkLst>
      </pc:sldChg>
      <pc:sldChg chg="addSp delSp modSp modTransition">
        <pc:chgData name="Jack Tracey" userId="98dee47e-7932-4ede-ad91-867e883fbe46" providerId="ADAL" clId="{090785AB-5754-4084-A821-0DCC1536D9DF}" dt="2019-11-24T15:25:37.321" v="8871"/>
        <pc:sldMkLst>
          <pc:docMk/>
          <pc:sldMk cId="1292659498" sldId="10246"/>
        </pc:sldMkLst>
        <pc:spChg chg="del">
          <ac:chgData name="Jack Tracey" userId="98dee47e-7932-4ede-ad91-867e883fbe46" providerId="ADAL" clId="{090785AB-5754-4084-A821-0DCC1536D9DF}" dt="2019-11-24T11:42:25.792" v="8684" actId="478"/>
          <ac:spMkLst>
            <pc:docMk/>
            <pc:sldMk cId="1292659498" sldId="10246"/>
            <ac:spMk id="4" creationId="{1758B316-5F1E-48D0-BC20-27089DBE7917}"/>
          </ac:spMkLst>
        </pc:spChg>
        <pc:spChg chg="add">
          <ac:chgData name="Jack Tracey" userId="98dee47e-7932-4ede-ad91-867e883fbe46" providerId="ADAL" clId="{090785AB-5754-4084-A821-0DCC1536D9DF}" dt="2019-11-24T11:42:26.627" v="8685"/>
          <ac:spMkLst>
            <pc:docMk/>
            <pc:sldMk cId="1292659498" sldId="10246"/>
            <ac:spMk id="74" creationId="{5A3675BD-DC61-4507-988F-248F8395840C}"/>
          </ac:spMkLst>
        </pc:spChg>
        <pc:spChg chg="add mod">
          <ac:chgData name="Jack Tracey" userId="98dee47e-7932-4ede-ad91-867e883fbe46" providerId="ADAL" clId="{090785AB-5754-4084-A821-0DCC1536D9DF}" dt="2019-11-24T11:42:32.350" v="8705" actId="20577"/>
          <ac:spMkLst>
            <pc:docMk/>
            <pc:sldMk cId="1292659498" sldId="10246"/>
            <ac:spMk id="76" creationId="{2B9A575F-C760-45A9-8285-336A745CF2CB}"/>
          </ac:spMkLst>
        </pc:spChg>
        <pc:picChg chg="add">
          <ac:chgData name="Jack Tracey" userId="98dee47e-7932-4ede-ad91-867e883fbe46" providerId="ADAL" clId="{090785AB-5754-4084-A821-0DCC1536D9DF}" dt="2019-11-24T11:42:26.627" v="8685"/>
          <ac:picMkLst>
            <pc:docMk/>
            <pc:sldMk cId="1292659498" sldId="10246"/>
            <ac:picMk id="78" creationId="{213586AE-66AF-45FD-B739-EE79E2E593E5}"/>
          </ac:picMkLst>
        </pc:picChg>
      </pc:sldChg>
      <pc:sldChg chg="modTransition">
        <pc:chgData name="Jack Tracey" userId="98dee47e-7932-4ede-ad91-867e883fbe46" providerId="ADAL" clId="{090785AB-5754-4084-A821-0DCC1536D9DF}" dt="2019-11-24T15:25:37.321" v="8871"/>
        <pc:sldMkLst>
          <pc:docMk/>
          <pc:sldMk cId="3607412153" sldId="10251"/>
        </pc:sldMkLst>
      </pc:sldChg>
      <pc:sldChg chg="modTransition">
        <pc:chgData name="Jack Tracey" userId="98dee47e-7932-4ede-ad91-867e883fbe46" providerId="ADAL" clId="{090785AB-5754-4084-A821-0DCC1536D9DF}" dt="2019-11-24T15:25:37.321" v="8871"/>
        <pc:sldMkLst>
          <pc:docMk/>
          <pc:sldMk cId="3706478896" sldId="10270"/>
        </pc:sldMkLst>
      </pc:sldChg>
      <pc:sldChg chg="modTransition">
        <pc:chgData name="Jack Tracey" userId="98dee47e-7932-4ede-ad91-867e883fbe46" providerId="ADAL" clId="{090785AB-5754-4084-A821-0DCC1536D9DF}" dt="2019-11-24T15:25:37.321" v="8871"/>
        <pc:sldMkLst>
          <pc:docMk/>
          <pc:sldMk cId="3738497244" sldId="10271"/>
        </pc:sldMkLst>
      </pc:sldChg>
      <pc:sldChg chg="addSp modSp add del modTransition">
        <pc:chgData name="Jack Tracey" userId="98dee47e-7932-4ede-ad91-867e883fbe46" providerId="ADAL" clId="{090785AB-5754-4084-A821-0DCC1536D9DF}" dt="2019-11-24T15:25:37.321" v="8871"/>
        <pc:sldMkLst>
          <pc:docMk/>
          <pc:sldMk cId="2525171911" sldId="10667"/>
        </pc:sldMkLst>
        <pc:spChg chg="add mod">
          <ac:chgData name="Jack Tracey" userId="98dee47e-7932-4ede-ad91-867e883fbe46" providerId="ADAL" clId="{090785AB-5754-4084-A821-0DCC1536D9DF}" dt="2019-11-23T15:34:32.412" v="7122" actId="14100"/>
          <ac:spMkLst>
            <pc:docMk/>
            <pc:sldMk cId="2525171911" sldId="10667"/>
            <ac:spMk id="4" creationId="{E5E61DC9-E1BB-40A4-8595-0A036DE53EB2}"/>
          </ac:spMkLst>
        </pc:spChg>
        <pc:spChg chg="add mod">
          <ac:chgData name="Jack Tracey" userId="98dee47e-7932-4ede-ad91-867e883fbe46" providerId="ADAL" clId="{090785AB-5754-4084-A821-0DCC1536D9DF}" dt="2019-11-23T15:34:12.653" v="7121" actId="20577"/>
          <ac:spMkLst>
            <pc:docMk/>
            <pc:sldMk cId="2525171911" sldId="10667"/>
            <ac:spMk id="5" creationId="{A31A69EA-6A60-4E38-B48B-3BFD5E94F625}"/>
          </ac:spMkLst>
        </pc:spChg>
        <pc:picChg chg="add">
          <ac:chgData name="Jack Tracey" userId="98dee47e-7932-4ede-ad91-867e883fbe46" providerId="ADAL" clId="{090785AB-5754-4084-A821-0DCC1536D9DF}" dt="2019-11-23T16:05:55.734" v="7231"/>
          <ac:picMkLst>
            <pc:docMk/>
            <pc:sldMk cId="2525171911" sldId="10667"/>
            <ac:picMk id="6" creationId="{DD3D91AE-37BE-4DF3-8D16-A7A5A0AC6D19}"/>
          </ac:picMkLst>
        </pc:picChg>
      </pc:sldChg>
      <pc:sldChg chg="addSp delSp modSp modTransition">
        <pc:chgData name="Jack Tracey" userId="98dee47e-7932-4ede-ad91-867e883fbe46" providerId="ADAL" clId="{090785AB-5754-4084-A821-0DCC1536D9DF}" dt="2019-11-24T15:25:37.321" v="8871"/>
        <pc:sldMkLst>
          <pc:docMk/>
          <pc:sldMk cId="2137257538" sldId="10691"/>
        </pc:sldMkLst>
        <pc:spChg chg="add del mod">
          <ac:chgData name="Jack Tracey" userId="98dee47e-7932-4ede-ad91-867e883fbe46" providerId="ADAL" clId="{090785AB-5754-4084-A821-0DCC1536D9DF}" dt="2019-11-23T16:05:25.755" v="7187" actId="478"/>
          <ac:spMkLst>
            <pc:docMk/>
            <pc:sldMk cId="2137257538" sldId="10691"/>
            <ac:spMk id="3" creationId="{C1B86353-12B0-4356-95BD-5E6E763F763C}"/>
          </ac:spMkLst>
        </pc:spChg>
        <pc:spChg chg="add del mod">
          <ac:chgData name="Jack Tracey" userId="98dee47e-7932-4ede-ad91-867e883fbe46" providerId="ADAL" clId="{090785AB-5754-4084-A821-0DCC1536D9DF}" dt="2019-11-23T16:05:32.631" v="7189" actId="478"/>
          <ac:spMkLst>
            <pc:docMk/>
            <pc:sldMk cId="2137257538" sldId="10691"/>
            <ac:spMk id="5" creationId="{213DA3AE-2C01-49C8-A8D9-30765C8C7DA4}"/>
          </ac:spMkLst>
        </pc:spChg>
        <pc:spChg chg="add del">
          <ac:chgData name="Jack Tracey" userId="98dee47e-7932-4ede-ad91-867e883fbe46" providerId="ADAL" clId="{090785AB-5754-4084-A821-0DCC1536D9DF}" dt="2019-11-23T16:05:25.160" v="7186"/>
          <ac:spMkLst>
            <pc:docMk/>
            <pc:sldMk cId="2137257538" sldId="10691"/>
            <ac:spMk id="7" creationId="{7CB56D3F-B786-483C-877A-38DE8C0EF635}"/>
          </ac:spMkLst>
        </pc:spChg>
        <pc:spChg chg="add del">
          <ac:chgData name="Jack Tracey" userId="98dee47e-7932-4ede-ad91-867e883fbe46" providerId="ADAL" clId="{090785AB-5754-4084-A821-0DCC1536D9DF}" dt="2019-11-23T16:05:25.160" v="7186"/>
          <ac:spMkLst>
            <pc:docMk/>
            <pc:sldMk cId="2137257538" sldId="10691"/>
            <ac:spMk id="8" creationId="{E6425660-7EF9-4D51-97E9-8B32C1B4745C}"/>
          </ac:spMkLst>
        </pc:spChg>
        <pc:spChg chg="add mod">
          <ac:chgData name="Jack Tracey" userId="98dee47e-7932-4ede-ad91-867e883fbe46" providerId="ADAL" clId="{090785AB-5754-4084-A821-0DCC1536D9DF}" dt="2019-11-23T16:05:50.041" v="7229" actId="14100"/>
          <ac:spMkLst>
            <pc:docMk/>
            <pc:sldMk cId="2137257538" sldId="10691"/>
            <ac:spMk id="10" creationId="{8B04391F-1F98-40E3-A022-DE606B5520F1}"/>
          </ac:spMkLst>
        </pc:spChg>
        <pc:spChg chg="add mod">
          <ac:chgData name="Jack Tracey" userId="98dee47e-7932-4ede-ad91-867e883fbe46" providerId="ADAL" clId="{090785AB-5754-4084-A821-0DCC1536D9DF}" dt="2019-11-23T16:05:44.385" v="7227" actId="20577"/>
          <ac:spMkLst>
            <pc:docMk/>
            <pc:sldMk cId="2137257538" sldId="10691"/>
            <ac:spMk id="11" creationId="{7C92D761-37FD-43C2-8CE2-9F613AD8DE1A}"/>
          </ac:spMkLst>
        </pc:spChg>
        <pc:spChg chg="add del">
          <ac:chgData name="Jack Tracey" userId="98dee47e-7932-4ede-ad91-867e883fbe46" providerId="ADAL" clId="{090785AB-5754-4084-A821-0DCC1536D9DF}" dt="2019-11-23T16:05:28.084" v="7188" actId="478"/>
          <ac:spMkLst>
            <pc:docMk/>
            <pc:sldMk cId="2137257538" sldId="10691"/>
            <ac:spMk id="17" creationId="{00000000-0000-0000-0000-000000000000}"/>
          </ac:spMkLst>
        </pc:spChg>
        <pc:picChg chg="add">
          <ac:chgData name="Jack Tracey" userId="98dee47e-7932-4ede-ad91-867e883fbe46" providerId="ADAL" clId="{090785AB-5754-4084-A821-0DCC1536D9DF}" dt="2019-11-23T16:05:58.348" v="7233"/>
          <ac:picMkLst>
            <pc:docMk/>
            <pc:sldMk cId="2137257538" sldId="10691"/>
            <ac:picMk id="12" creationId="{88E97ECA-C845-48F0-BCD3-2A1472DDBD89}"/>
          </ac:picMkLst>
        </pc:picChg>
      </pc:sldChg>
      <pc:sldChg chg="addSp delSp modSp add modTransition modAnim">
        <pc:chgData name="Jack Tracey" userId="98dee47e-7932-4ede-ad91-867e883fbe46" providerId="ADAL" clId="{090785AB-5754-4084-A821-0DCC1536D9DF}" dt="2019-11-24T15:25:37.321" v="8871"/>
        <pc:sldMkLst>
          <pc:docMk/>
          <pc:sldMk cId="3352829102" sldId="10692"/>
        </pc:sldMkLst>
        <pc:spChg chg="del">
          <ac:chgData name="Jack Tracey" userId="98dee47e-7932-4ede-ad91-867e883fbe46" providerId="ADAL" clId="{090785AB-5754-4084-A821-0DCC1536D9DF}" dt="2019-11-23T15:11:03.849" v="6868" actId="478"/>
          <ac:spMkLst>
            <pc:docMk/>
            <pc:sldMk cId="3352829102" sldId="10692"/>
            <ac:spMk id="3" creationId="{AE7E52CC-5DF8-42B4-A974-1E1E05317FFA}"/>
          </ac:spMkLst>
        </pc:spChg>
        <pc:spChg chg="del">
          <ac:chgData name="Jack Tracey" userId="98dee47e-7932-4ede-ad91-867e883fbe46" providerId="ADAL" clId="{090785AB-5754-4084-A821-0DCC1536D9DF}" dt="2019-11-23T15:11:03.849" v="6868" actId="478"/>
          <ac:spMkLst>
            <pc:docMk/>
            <pc:sldMk cId="3352829102" sldId="10692"/>
            <ac:spMk id="4" creationId="{5C6E3F0F-4F5F-4CFE-8EAF-08447C54D9D4}"/>
          </ac:spMkLst>
        </pc:spChg>
        <pc:spChg chg="del">
          <ac:chgData name="Jack Tracey" userId="98dee47e-7932-4ede-ad91-867e883fbe46" providerId="ADAL" clId="{090785AB-5754-4084-A821-0DCC1536D9DF}" dt="2019-11-23T15:11:03.849" v="6868" actId="478"/>
          <ac:spMkLst>
            <pc:docMk/>
            <pc:sldMk cId="3352829102" sldId="10692"/>
            <ac:spMk id="6" creationId="{B17B9E4F-4878-40A0-9F55-FEBE4D7E9962}"/>
          </ac:spMkLst>
        </pc:spChg>
        <pc:spChg chg="del">
          <ac:chgData name="Jack Tracey" userId="98dee47e-7932-4ede-ad91-867e883fbe46" providerId="ADAL" clId="{090785AB-5754-4084-A821-0DCC1536D9DF}" dt="2019-11-23T15:11:03.849" v="6868" actId="478"/>
          <ac:spMkLst>
            <pc:docMk/>
            <pc:sldMk cId="3352829102" sldId="10692"/>
            <ac:spMk id="7" creationId="{C27FF106-E735-43B3-9D21-1C431451967D}"/>
          </ac:spMkLst>
        </pc:spChg>
        <pc:spChg chg="del">
          <ac:chgData name="Jack Tracey" userId="98dee47e-7932-4ede-ad91-867e883fbe46" providerId="ADAL" clId="{090785AB-5754-4084-A821-0DCC1536D9DF}" dt="2019-11-23T15:11:03.849" v="6868" actId="478"/>
          <ac:spMkLst>
            <pc:docMk/>
            <pc:sldMk cId="3352829102" sldId="10692"/>
            <ac:spMk id="8" creationId="{91C029C7-8CFE-42EC-A37D-19D88F17E525}"/>
          </ac:spMkLst>
        </pc:spChg>
        <pc:spChg chg="del">
          <ac:chgData name="Jack Tracey" userId="98dee47e-7932-4ede-ad91-867e883fbe46" providerId="ADAL" clId="{090785AB-5754-4084-A821-0DCC1536D9DF}" dt="2019-11-23T15:11:03.849" v="6868" actId="478"/>
          <ac:spMkLst>
            <pc:docMk/>
            <pc:sldMk cId="3352829102" sldId="10692"/>
            <ac:spMk id="9" creationId="{98E2884E-4E25-45AB-94F4-12B0A733A53D}"/>
          </ac:spMkLst>
        </pc:spChg>
        <pc:spChg chg="del">
          <ac:chgData name="Jack Tracey" userId="98dee47e-7932-4ede-ad91-867e883fbe46" providerId="ADAL" clId="{090785AB-5754-4084-A821-0DCC1536D9DF}" dt="2019-11-23T15:11:03.849" v="6868" actId="478"/>
          <ac:spMkLst>
            <pc:docMk/>
            <pc:sldMk cId="3352829102" sldId="10692"/>
            <ac:spMk id="11" creationId="{906822D7-C3F8-404C-9EB7-8B31309E591B}"/>
          </ac:spMkLst>
        </pc:spChg>
        <pc:spChg chg="del">
          <ac:chgData name="Jack Tracey" userId="98dee47e-7932-4ede-ad91-867e883fbe46" providerId="ADAL" clId="{090785AB-5754-4084-A821-0DCC1536D9DF}" dt="2019-11-23T15:11:03.849" v="6868" actId="478"/>
          <ac:spMkLst>
            <pc:docMk/>
            <pc:sldMk cId="3352829102" sldId="10692"/>
            <ac:spMk id="12" creationId="{0AD48D01-288E-4DFE-B720-9A166A35ABDE}"/>
          </ac:spMkLst>
        </pc:spChg>
        <pc:spChg chg="del">
          <ac:chgData name="Jack Tracey" userId="98dee47e-7932-4ede-ad91-867e883fbe46" providerId="ADAL" clId="{090785AB-5754-4084-A821-0DCC1536D9DF}" dt="2019-11-23T15:11:03.849" v="6868" actId="478"/>
          <ac:spMkLst>
            <pc:docMk/>
            <pc:sldMk cId="3352829102" sldId="10692"/>
            <ac:spMk id="13" creationId="{1C2703E7-A0AC-4436-A45F-320518A62E57}"/>
          </ac:spMkLst>
        </pc:spChg>
        <pc:spChg chg="del">
          <ac:chgData name="Jack Tracey" userId="98dee47e-7932-4ede-ad91-867e883fbe46" providerId="ADAL" clId="{090785AB-5754-4084-A821-0DCC1536D9DF}" dt="2019-11-23T15:11:03.849" v="6868" actId="478"/>
          <ac:spMkLst>
            <pc:docMk/>
            <pc:sldMk cId="3352829102" sldId="10692"/>
            <ac:spMk id="15" creationId="{854F876E-3A9B-41E1-A0C6-35491191713B}"/>
          </ac:spMkLst>
        </pc:spChg>
        <pc:spChg chg="del">
          <ac:chgData name="Jack Tracey" userId="98dee47e-7932-4ede-ad91-867e883fbe46" providerId="ADAL" clId="{090785AB-5754-4084-A821-0DCC1536D9DF}" dt="2019-11-23T15:11:03.849" v="6868" actId="478"/>
          <ac:spMkLst>
            <pc:docMk/>
            <pc:sldMk cId="3352829102" sldId="10692"/>
            <ac:spMk id="17" creationId="{4356205E-BF55-4335-872B-8480CFE1A3D7}"/>
          </ac:spMkLst>
        </pc:spChg>
        <pc:spChg chg="del">
          <ac:chgData name="Jack Tracey" userId="98dee47e-7932-4ede-ad91-867e883fbe46" providerId="ADAL" clId="{090785AB-5754-4084-A821-0DCC1536D9DF}" dt="2019-11-23T15:11:03.849" v="6868" actId="478"/>
          <ac:spMkLst>
            <pc:docMk/>
            <pc:sldMk cId="3352829102" sldId="10692"/>
            <ac:spMk id="20" creationId="{1160A460-0BE0-4F9C-8134-D8376A1AD669}"/>
          </ac:spMkLst>
        </pc:spChg>
        <pc:spChg chg="del">
          <ac:chgData name="Jack Tracey" userId="98dee47e-7932-4ede-ad91-867e883fbe46" providerId="ADAL" clId="{090785AB-5754-4084-A821-0DCC1536D9DF}" dt="2019-11-23T15:11:03.849" v="6868" actId="478"/>
          <ac:spMkLst>
            <pc:docMk/>
            <pc:sldMk cId="3352829102" sldId="10692"/>
            <ac:spMk id="21" creationId="{E0DF1DFE-27C3-4126-A9F8-2C5F0D479AEB}"/>
          </ac:spMkLst>
        </pc:spChg>
        <pc:spChg chg="del mod">
          <ac:chgData name="Jack Tracey" userId="98dee47e-7932-4ede-ad91-867e883fbe46" providerId="ADAL" clId="{090785AB-5754-4084-A821-0DCC1536D9DF}" dt="2019-11-23T15:33:11.455" v="7029" actId="478"/>
          <ac:spMkLst>
            <pc:docMk/>
            <pc:sldMk cId="3352829102" sldId="10692"/>
            <ac:spMk id="22" creationId="{99BC0C7D-0B95-4DA1-91B6-3311C2FE4D4B}"/>
          </ac:spMkLst>
        </pc:spChg>
        <pc:spChg chg="del">
          <ac:chgData name="Jack Tracey" userId="98dee47e-7932-4ede-ad91-867e883fbe46" providerId="ADAL" clId="{090785AB-5754-4084-A821-0DCC1536D9DF}" dt="2019-11-23T15:11:03.849" v="6868" actId="478"/>
          <ac:spMkLst>
            <pc:docMk/>
            <pc:sldMk cId="3352829102" sldId="10692"/>
            <ac:spMk id="23" creationId="{54F026C4-BDFC-4EB7-9E0B-8AE15C336889}"/>
          </ac:spMkLst>
        </pc:spChg>
        <pc:spChg chg="del">
          <ac:chgData name="Jack Tracey" userId="98dee47e-7932-4ede-ad91-867e883fbe46" providerId="ADAL" clId="{090785AB-5754-4084-A821-0DCC1536D9DF}" dt="2019-11-23T15:11:03.849" v="6868" actId="478"/>
          <ac:spMkLst>
            <pc:docMk/>
            <pc:sldMk cId="3352829102" sldId="10692"/>
            <ac:spMk id="25" creationId="{9E58E447-E1B6-4511-A78D-7C07B620CCA6}"/>
          </ac:spMkLst>
        </pc:spChg>
        <pc:spChg chg="del">
          <ac:chgData name="Jack Tracey" userId="98dee47e-7932-4ede-ad91-867e883fbe46" providerId="ADAL" clId="{090785AB-5754-4084-A821-0DCC1536D9DF}" dt="2019-11-23T15:11:03.849" v="6868" actId="478"/>
          <ac:spMkLst>
            <pc:docMk/>
            <pc:sldMk cId="3352829102" sldId="10692"/>
            <ac:spMk id="26" creationId="{3633F7E3-26E7-4E37-B143-F63BF7EA3CC2}"/>
          </ac:spMkLst>
        </pc:spChg>
        <pc:spChg chg="del">
          <ac:chgData name="Jack Tracey" userId="98dee47e-7932-4ede-ad91-867e883fbe46" providerId="ADAL" clId="{090785AB-5754-4084-A821-0DCC1536D9DF}" dt="2019-11-23T15:11:03.849" v="6868" actId="478"/>
          <ac:spMkLst>
            <pc:docMk/>
            <pc:sldMk cId="3352829102" sldId="10692"/>
            <ac:spMk id="27" creationId="{EE7CABD5-FA1D-4605-B4B0-2BCFFDA6B300}"/>
          </ac:spMkLst>
        </pc:spChg>
        <pc:spChg chg="add del">
          <ac:chgData name="Jack Tracey" userId="98dee47e-7932-4ede-ad91-867e883fbe46" providerId="ADAL" clId="{090785AB-5754-4084-A821-0DCC1536D9DF}" dt="2019-11-23T15:33:14.724" v="7031"/>
          <ac:spMkLst>
            <pc:docMk/>
            <pc:sldMk cId="3352829102" sldId="10692"/>
            <ac:spMk id="28" creationId="{F3FE60BA-2F96-47C3-8F84-414B78FB7772}"/>
          </ac:spMkLst>
        </pc:spChg>
        <pc:spChg chg="add del">
          <ac:chgData name="Jack Tracey" userId="98dee47e-7932-4ede-ad91-867e883fbe46" providerId="ADAL" clId="{090785AB-5754-4084-A821-0DCC1536D9DF}" dt="2019-11-23T15:33:14.724" v="7031"/>
          <ac:spMkLst>
            <pc:docMk/>
            <pc:sldMk cId="3352829102" sldId="10692"/>
            <ac:spMk id="29" creationId="{6ECB4E14-F8B9-4562-8765-1394EAB8B58B}"/>
          </ac:spMkLst>
        </pc:spChg>
        <pc:spChg chg="del">
          <ac:chgData name="Jack Tracey" userId="98dee47e-7932-4ede-ad91-867e883fbe46" providerId="ADAL" clId="{090785AB-5754-4084-A821-0DCC1536D9DF}" dt="2019-11-23T15:11:03.849" v="6868" actId="478"/>
          <ac:spMkLst>
            <pc:docMk/>
            <pc:sldMk cId="3352829102" sldId="10692"/>
            <ac:spMk id="30" creationId="{6FD84A9A-8AA8-4508-B8D0-006364990923}"/>
          </ac:spMkLst>
        </pc:spChg>
        <pc:spChg chg="del">
          <ac:chgData name="Jack Tracey" userId="98dee47e-7932-4ede-ad91-867e883fbe46" providerId="ADAL" clId="{090785AB-5754-4084-A821-0DCC1536D9DF}" dt="2019-11-23T15:11:03.849" v="6868" actId="478"/>
          <ac:spMkLst>
            <pc:docMk/>
            <pc:sldMk cId="3352829102" sldId="10692"/>
            <ac:spMk id="31" creationId="{ED7771F9-E480-43C4-ACB8-6F78A7ECB85E}"/>
          </ac:spMkLst>
        </pc:spChg>
        <pc:spChg chg="del">
          <ac:chgData name="Jack Tracey" userId="98dee47e-7932-4ede-ad91-867e883fbe46" providerId="ADAL" clId="{090785AB-5754-4084-A821-0DCC1536D9DF}" dt="2019-11-23T15:11:03.849" v="6868" actId="478"/>
          <ac:spMkLst>
            <pc:docMk/>
            <pc:sldMk cId="3352829102" sldId="10692"/>
            <ac:spMk id="32" creationId="{779046EB-58EB-4644-9582-75BD6E6D5B94}"/>
          </ac:spMkLst>
        </pc:spChg>
        <pc:spChg chg="del">
          <ac:chgData name="Jack Tracey" userId="98dee47e-7932-4ede-ad91-867e883fbe46" providerId="ADAL" clId="{090785AB-5754-4084-A821-0DCC1536D9DF}" dt="2019-11-23T15:11:03.849" v="6868" actId="478"/>
          <ac:spMkLst>
            <pc:docMk/>
            <pc:sldMk cId="3352829102" sldId="10692"/>
            <ac:spMk id="33" creationId="{15354950-A830-476A-B2D5-5A3B96F8ADEE}"/>
          </ac:spMkLst>
        </pc:spChg>
        <pc:spChg chg="add mod">
          <ac:chgData name="Jack Tracey" userId="98dee47e-7932-4ede-ad91-867e883fbe46" providerId="ADAL" clId="{090785AB-5754-4084-A821-0DCC1536D9DF}" dt="2019-11-23T15:33:29.876" v="7066" actId="14100"/>
          <ac:spMkLst>
            <pc:docMk/>
            <pc:sldMk cId="3352829102" sldId="10692"/>
            <ac:spMk id="34" creationId="{BAE68265-AA6B-492E-884E-9FBFFBF9F6C0}"/>
          </ac:spMkLst>
        </pc:spChg>
        <pc:spChg chg="add mod">
          <ac:chgData name="Jack Tracey" userId="98dee47e-7932-4ede-ad91-867e883fbe46" providerId="ADAL" clId="{090785AB-5754-4084-A821-0DCC1536D9DF}" dt="2019-11-23T15:33:23.434" v="7063" actId="20577"/>
          <ac:spMkLst>
            <pc:docMk/>
            <pc:sldMk cId="3352829102" sldId="10692"/>
            <ac:spMk id="35" creationId="{258CEA11-09C7-4274-B500-D2D6E71E7449}"/>
          </ac:spMkLst>
        </pc:spChg>
        <pc:picChg chg="add mod">
          <ac:chgData name="Jack Tracey" userId="98dee47e-7932-4ede-ad91-867e883fbe46" providerId="ADAL" clId="{090785AB-5754-4084-A821-0DCC1536D9DF}" dt="2019-11-23T15:11:35.495" v="6872" actId="1076"/>
          <ac:picMkLst>
            <pc:docMk/>
            <pc:sldMk cId="3352829102" sldId="10692"/>
            <ac:picMk id="5" creationId="{BFA37D66-A1B1-4B0E-A76E-FF0CC322CA01}"/>
          </ac:picMkLst>
        </pc:picChg>
        <pc:picChg chg="add">
          <ac:chgData name="Jack Tracey" userId="98dee47e-7932-4ede-ad91-867e883fbe46" providerId="ADAL" clId="{090785AB-5754-4084-A821-0DCC1536D9DF}" dt="2019-11-23T16:06:07.460" v="7234"/>
          <ac:picMkLst>
            <pc:docMk/>
            <pc:sldMk cId="3352829102" sldId="10692"/>
            <ac:picMk id="36" creationId="{3DD1CFE1-B716-47E4-9655-2B9BBC0C6720}"/>
          </ac:picMkLst>
        </pc:picChg>
        <pc:picChg chg="del">
          <ac:chgData name="Jack Tracey" userId="98dee47e-7932-4ede-ad91-867e883fbe46" providerId="ADAL" clId="{090785AB-5754-4084-A821-0DCC1536D9DF}" dt="2019-11-23T15:11:03.849" v="6868" actId="478"/>
          <ac:picMkLst>
            <pc:docMk/>
            <pc:sldMk cId="3352829102" sldId="10692"/>
            <ac:picMk id="1026" creationId="{85ABE6B6-3F2F-4583-B2F1-39765D5FE2AF}"/>
          </ac:picMkLst>
        </pc:picChg>
        <pc:picChg chg="del">
          <ac:chgData name="Jack Tracey" userId="98dee47e-7932-4ede-ad91-867e883fbe46" providerId="ADAL" clId="{090785AB-5754-4084-A821-0DCC1536D9DF}" dt="2019-11-23T15:11:03.849" v="6868" actId="478"/>
          <ac:picMkLst>
            <pc:docMk/>
            <pc:sldMk cId="3352829102" sldId="10692"/>
            <ac:picMk id="1028" creationId="{5DB33B9D-E421-43BF-B89C-2B0308A23C20}"/>
          </ac:picMkLst>
        </pc:picChg>
      </pc:sldChg>
      <pc:sldChg chg="addSp delSp modSp add modTransition delAnim modAnim">
        <pc:chgData name="Jack Tracey" userId="98dee47e-7932-4ede-ad91-867e883fbe46" providerId="ADAL" clId="{090785AB-5754-4084-A821-0DCC1536D9DF}" dt="2019-11-24T15:25:37.321" v="8871"/>
        <pc:sldMkLst>
          <pc:docMk/>
          <pc:sldMk cId="153091748" sldId="10693"/>
        </pc:sldMkLst>
        <pc:spChg chg="add del">
          <ac:chgData name="Jack Tracey" userId="98dee47e-7932-4ede-ad91-867e883fbe46" providerId="ADAL" clId="{090785AB-5754-4084-A821-0DCC1536D9DF}" dt="2019-11-23T15:32:57.949" v="7002"/>
          <ac:spMkLst>
            <pc:docMk/>
            <pc:sldMk cId="153091748" sldId="10693"/>
            <ac:spMk id="6" creationId="{41FD09F7-B6E5-4552-8EA5-71B49302A6D6}"/>
          </ac:spMkLst>
        </pc:spChg>
        <pc:spChg chg="add del">
          <ac:chgData name="Jack Tracey" userId="98dee47e-7932-4ede-ad91-867e883fbe46" providerId="ADAL" clId="{090785AB-5754-4084-A821-0DCC1536D9DF}" dt="2019-11-23T15:32:57.949" v="7002"/>
          <ac:spMkLst>
            <pc:docMk/>
            <pc:sldMk cId="153091748" sldId="10693"/>
            <ac:spMk id="7" creationId="{6072400E-890D-40F4-BA35-C236527EBA38}"/>
          </ac:spMkLst>
        </pc:spChg>
        <pc:spChg chg="add">
          <ac:chgData name="Jack Tracey" userId="98dee47e-7932-4ede-ad91-867e883fbe46" providerId="ADAL" clId="{090785AB-5754-4084-A821-0DCC1536D9DF}" dt="2019-11-23T15:32:57.956" v="7003"/>
          <ac:spMkLst>
            <pc:docMk/>
            <pc:sldMk cId="153091748" sldId="10693"/>
            <ac:spMk id="8" creationId="{A0317516-2D1F-4E0A-8EFB-8DF446360A6A}"/>
          </ac:spMkLst>
        </pc:spChg>
        <pc:spChg chg="add mod">
          <ac:chgData name="Jack Tracey" userId="98dee47e-7932-4ede-ad91-867e883fbe46" providerId="ADAL" clId="{090785AB-5754-4084-A821-0DCC1536D9DF}" dt="2019-11-23T15:33:06.155" v="7028" actId="20577"/>
          <ac:spMkLst>
            <pc:docMk/>
            <pc:sldMk cId="153091748" sldId="10693"/>
            <ac:spMk id="9" creationId="{5E71970A-8911-43AC-A9BD-1E205653CD4A}"/>
          </ac:spMkLst>
        </pc:spChg>
        <pc:spChg chg="del mod">
          <ac:chgData name="Jack Tracey" userId="98dee47e-7932-4ede-ad91-867e883fbe46" providerId="ADAL" clId="{090785AB-5754-4084-A821-0DCC1536D9DF}" dt="2019-11-23T15:32:53.924" v="6998" actId="478"/>
          <ac:spMkLst>
            <pc:docMk/>
            <pc:sldMk cId="153091748" sldId="10693"/>
            <ac:spMk id="22" creationId="{99BC0C7D-0B95-4DA1-91B6-3311C2FE4D4B}"/>
          </ac:spMkLst>
        </pc:spChg>
        <pc:picChg chg="add mod">
          <ac:chgData name="Jack Tracey" userId="98dee47e-7932-4ede-ad91-867e883fbe46" providerId="ADAL" clId="{090785AB-5754-4084-A821-0DCC1536D9DF}" dt="2019-11-23T15:21:42.074" v="6917" actId="1076"/>
          <ac:picMkLst>
            <pc:docMk/>
            <pc:sldMk cId="153091748" sldId="10693"/>
            <ac:picMk id="3" creationId="{2B77E09E-5B49-483B-BB44-2DF79EB8465B}"/>
          </ac:picMkLst>
        </pc:picChg>
        <pc:picChg chg="del">
          <ac:chgData name="Jack Tracey" userId="98dee47e-7932-4ede-ad91-867e883fbe46" providerId="ADAL" clId="{090785AB-5754-4084-A821-0DCC1536D9DF}" dt="2019-11-23T15:21:18.388" v="6912" actId="478"/>
          <ac:picMkLst>
            <pc:docMk/>
            <pc:sldMk cId="153091748" sldId="10693"/>
            <ac:picMk id="5" creationId="{BFA37D66-A1B1-4B0E-A76E-FF0CC322CA01}"/>
          </ac:picMkLst>
        </pc:picChg>
      </pc:sldChg>
      <pc:sldChg chg="addSp delSp modSp add modTransition delAnim modAnim">
        <pc:chgData name="Jack Tracey" userId="98dee47e-7932-4ede-ad91-867e883fbe46" providerId="ADAL" clId="{090785AB-5754-4084-A821-0DCC1536D9DF}" dt="2019-11-24T15:25:37.321" v="8871"/>
        <pc:sldMkLst>
          <pc:docMk/>
          <pc:sldMk cId="1683803825" sldId="10694"/>
        </pc:sldMkLst>
        <pc:spChg chg="mod">
          <ac:chgData name="Jack Tracey" userId="98dee47e-7932-4ede-ad91-867e883fbe46" providerId="ADAL" clId="{090785AB-5754-4084-A821-0DCC1536D9DF}" dt="2019-11-23T15:27:56.987" v="6949" actId="14100"/>
          <ac:spMkLst>
            <pc:docMk/>
            <pc:sldMk cId="1683803825" sldId="10694"/>
            <ac:spMk id="8" creationId="{022A2DF9-416C-4715-A4CE-B77A82E740E9}"/>
          </ac:spMkLst>
        </pc:spChg>
        <pc:spChg chg="mod">
          <ac:chgData name="Jack Tracey" userId="98dee47e-7932-4ede-ad91-867e883fbe46" providerId="ADAL" clId="{090785AB-5754-4084-A821-0DCC1536D9DF}" dt="2019-11-23T15:27:50.845" v="6947" actId="20577"/>
          <ac:spMkLst>
            <pc:docMk/>
            <pc:sldMk cId="1683803825" sldId="10694"/>
            <ac:spMk id="9" creationId="{2448901E-48B7-4417-BBB0-4E51F689A76D}"/>
          </ac:spMkLst>
        </pc:spChg>
        <pc:spChg chg="del mod">
          <ac:chgData name="Jack Tracey" userId="98dee47e-7932-4ede-ad91-867e883fbe46" providerId="ADAL" clId="{090785AB-5754-4084-A821-0DCC1536D9DF}" dt="2019-11-23T15:28:01.004" v="6951" actId="478"/>
          <ac:spMkLst>
            <pc:docMk/>
            <pc:sldMk cId="1683803825" sldId="10694"/>
            <ac:spMk id="10" creationId="{1B800DE3-CF57-4603-8854-4529CC0A5DD9}"/>
          </ac:spMkLst>
        </pc:spChg>
        <pc:picChg chg="add mod">
          <ac:chgData name="Jack Tracey" userId="98dee47e-7932-4ede-ad91-867e883fbe46" providerId="ADAL" clId="{090785AB-5754-4084-A821-0DCC1536D9DF}" dt="2019-11-23T15:28:24.685" v="6955" actId="1076"/>
          <ac:picMkLst>
            <pc:docMk/>
            <pc:sldMk cId="1683803825" sldId="10694"/>
            <ac:picMk id="2" creationId="{D4266ABB-4104-47B6-9047-233D114C994A}"/>
          </ac:picMkLst>
        </pc:picChg>
      </pc:sldChg>
      <pc:sldChg chg="addSp delSp modSp add ord modTransition delAnim modAnim">
        <pc:chgData name="Jack Tracey" userId="98dee47e-7932-4ede-ad91-867e883fbe46" providerId="ADAL" clId="{090785AB-5754-4084-A821-0DCC1536D9DF}" dt="2019-11-24T15:25:37.321" v="8871"/>
        <pc:sldMkLst>
          <pc:docMk/>
          <pc:sldMk cId="2632802121" sldId="10695"/>
        </pc:sldMkLst>
        <pc:spChg chg="mod">
          <ac:chgData name="Jack Tracey" userId="98dee47e-7932-4ede-ad91-867e883fbe46" providerId="ADAL" clId="{090785AB-5754-4084-A821-0DCC1536D9DF}" dt="2019-11-23T15:31:44.663" v="6991" actId="14100"/>
          <ac:spMkLst>
            <pc:docMk/>
            <pc:sldMk cId="2632802121" sldId="10695"/>
            <ac:spMk id="8" creationId="{022A2DF9-416C-4715-A4CE-B77A82E740E9}"/>
          </ac:spMkLst>
        </pc:spChg>
        <pc:spChg chg="mod">
          <ac:chgData name="Jack Tracey" userId="98dee47e-7932-4ede-ad91-867e883fbe46" providerId="ADAL" clId="{090785AB-5754-4084-A821-0DCC1536D9DF}" dt="2019-11-23T15:31:37.701" v="6989" actId="20577"/>
          <ac:spMkLst>
            <pc:docMk/>
            <pc:sldMk cId="2632802121" sldId="10695"/>
            <ac:spMk id="9" creationId="{2448901E-48B7-4417-BBB0-4E51F689A76D}"/>
          </ac:spMkLst>
        </pc:spChg>
        <pc:picChg chg="del">
          <ac:chgData name="Jack Tracey" userId="98dee47e-7932-4ede-ad91-867e883fbe46" providerId="ADAL" clId="{090785AB-5754-4084-A821-0DCC1536D9DF}" dt="2019-11-23T15:31:45.903" v="6992" actId="478"/>
          <ac:picMkLst>
            <pc:docMk/>
            <pc:sldMk cId="2632802121" sldId="10695"/>
            <ac:picMk id="2" creationId="{D4266ABB-4104-47B6-9047-233D114C994A}"/>
          </ac:picMkLst>
        </pc:picChg>
        <pc:picChg chg="add mod">
          <ac:chgData name="Jack Tracey" userId="98dee47e-7932-4ede-ad91-867e883fbe46" providerId="ADAL" clId="{090785AB-5754-4084-A821-0DCC1536D9DF}" dt="2019-11-23T15:32:09.632" v="6997" actId="1076"/>
          <ac:picMkLst>
            <pc:docMk/>
            <pc:sldMk cId="2632802121" sldId="10695"/>
            <ac:picMk id="3" creationId="{518402E4-843E-44C7-A5E3-61BD74DC4FCF}"/>
          </ac:picMkLst>
        </pc:picChg>
      </pc:sldChg>
      <pc:sldChg chg="addSp delSp modSp modTransition">
        <pc:chgData name="Jack Tracey" userId="98dee47e-7932-4ede-ad91-867e883fbe46" providerId="ADAL" clId="{090785AB-5754-4084-A821-0DCC1536D9DF}" dt="2019-11-24T15:25:37.321" v="8871"/>
        <pc:sldMkLst>
          <pc:docMk/>
          <pc:sldMk cId="2554271359" sldId="11023"/>
        </pc:sldMkLst>
        <pc:spChg chg="del mod">
          <ac:chgData name="Jack Tracey" userId="98dee47e-7932-4ede-ad91-867e883fbe46" providerId="ADAL" clId="{090785AB-5754-4084-A821-0DCC1536D9DF}" dt="2019-11-24T11:39:02.376" v="8656" actId="478"/>
          <ac:spMkLst>
            <pc:docMk/>
            <pc:sldMk cId="2554271359" sldId="11023"/>
            <ac:spMk id="2" creationId="{158194E9-12DF-43F9-9090-D97313F70C92}"/>
          </ac:spMkLst>
        </pc:spChg>
        <pc:spChg chg="add del mod">
          <ac:chgData name="Jack Tracey" userId="98dee47e-7932-4ede-ad91-867e883fbe46" providerId="ADAL" clId="{090785AB-5754-4084-A821-0DCC1536D9DF}" dt="2019-11-24T11:39:03.840" v="8657" actId="478"/>
          <ac:spMkLst>
            <pc:docMk/>
            <pc:sldMk cId="2554271359" sldId="11023"/>
            <ac:spMk id="5" creationId="{4AC47F27-AC06-4A13-872E-D51D1ADAAF8D}"/>
          </ac:spMkLst>
        </pc:spChg>
        <pc:spChg chg="add mod">
          <ac:chgData name="Jack Tracey" userId="98dee47e-7932-4ede-ad91-867e883fbe46" providerId="ADAL" clId="{090785AB-5754-4084-A821-0DCC1536D9DF}" dt="2019-11-24T11:39:25.632" v="8682" actId="14100"/>
          <ac:spMkLst>
            <pc:docMk/>
            <pc:sldMk cId="2554271359" sldId="11023"/>
            <ac:spMk id="9" creationId="{50927E96-0571-4E87-B821-6690044DCA2B}"/>
          </ac:spMkLst>
        </pc:spChg>
        <pc:spChg chg="add mod">
          <ac:chgData name="Jack Tracey" userId="98dee47e-7932-4ede-ad91-867e883fbe46" providerId="ADAL" clId="{090785AB-5754-4084-A821-0DCC1536D9DF}" dt="2019-11-24T11:39:21.806" v="8681" actId="20577"/>
          <ac:spMkLst>
            <pc:docMk/>
            <pc:sldMk cId="2554271359" sldId="11023"/>
            <ac:spMk id="10" creationId="{B7652616-AB99-4C94-891E-22FE9F8C9AAD}"/>
          </ac:spMkLst>
        </pc:spChg>
        <pc:picChg chg="add">
          <ac:chgData name="Jack Tracey" userId="98dee47e-7932-4ede-ad91-867e883fbe46" providerId="ADAL" clId="{090785AB-5754-4084-A821-0DCC1536D9DF}" dt="2019-11-24T11:39:09.953" v="8658"/>
          <ac:picMkLst>
            <pc:docMk/>
            <pc:sldMk cId="2554271359" sldId="11023"/>
            <ac:picMk id="12" creationId="{22D24EA5-B426-4251-A43D-8287ABA22876}"/>
          </ac:picMkLst>
        </pc:picChg>
      </pc:sldChg>
      <pc:sldChg chg="modTransition">
        <pc:chgData name="Jack Tracey" userId="98dee47e-7932-4ede-ad91-867e883fbe46" providerId="ADAL" clId="{090785AB-5754-4084-A821-0DCC1536D9DF}" dt="2019-11-24T15:25:37.321" v="8871"/>
        <pc:sldMkLst>
          <pc:docMk/>
          <pc:sldMk cId="1097793567" sldId="2076136258"/>
        </pc:sldMkLst>
      </pc:sldChg>
      <pc:sldChg chg="modTransition">
        <pc:chgData name="Jack Tracey" userId="98dee47e-7932-4ede-ad91-867e883fbe46" providerId="ADAL" clId="{090785AB-5754-4084-A821-0DCC1536D9DF}" dt="2019-11-24T15:25:37.321" v="8871"/>
        <pc:sldMkLst>
          <pc:docMk/>
          <pc:sldMk cId="135957701" sldId="2076136471"/>
        </pc:sldMkLst>
      </pc:sldChg>
      <pc:sldChg chg="modTransition">
        <pc:chgData name="Jack Tracey" userId="98dee47e-7932-4ede-ad91-867e883fbe46" providerId="ADAL" clId="{090785AB-5754-4084-A821-0DCC1536D9DF}" dt="2019-11-24T15:25:37.321" v="8871"/>
        <pc:sldMkLst>
          <pc:docMk/>
          <pc:sldMk cId="1722371393" sldId="2076136478"/>
        </pc:sldMkLst>
      </pc:sldChg>
      <pc:sldChg chg="modTransition">
        <pc:chgData name="Jack Tracey" userId="98dee47e-7932-4ede-ad91-867e883fbe46" providerId="ADAL" clId="{090785AB-5754-4084-A821-0DCC1536D9DF}" dt="2019-11-24T15:25:37.321" v="8871"/>
        <pc:sldMkLst>
          <pc:docMk/>
          <pc:sldMk cId="1450452687" sldId="2076136498"/>
        </pc:sldMkLst>
      </pc:sldChg>
      <pc:sldChg chg="modTransition">
        <pc:chgData name="Jack Tracey" userId="98dee47e-7932-4ede-ad91-867e883fbe46" providerId="ADAL" clId="{090785AB-5754-4084-A821-0DCC1536D9DF}" dt="2019-11-24T15:25:37.321" v="8871"/>
        <pc:sldMkLst>
          <pc:docMk/>
          <pc:sldMk cId="3977128237" sldId="2076136506"/>
        </pc:sldMkLst>
      </pc:sldChg>
      <pc:sldChg chg="modTransition">
        <pc:chgData name="Jack Tracey" userId="98dee47e-7932-4ede-ad91-867e883fbe46" providerId="ADAL" clId="{090785AB-5754-4084-A821-0DCC1536D9DF}" dt="2019-11-24T15:25:37.321" v="8871"/>
        <pc:sldMkLst>
          <pc:docMk/>
          <pc:sldMk cId="2185758255" sldId="2076136508"/>
        </pc:sldMkLst>
      </pc:sldChg>
      <pc:sldChg chg="modTransition">
        <pc:chgData name="Jack Tracey" userId="98dee47e-7932-4ede-ad91-867e883fbe46" providerId="ADAL" clId="{090785AB-5754-4084-A821-0DCC1536D9DF}" dt="2019-11-24T15:25:37.321" v="8871"/>
        <pc:sldMkLst>
          <pc:docMk/>
          <pc:sldMk cId="2819334198" sldId="2076136517"/>
        </pc:sldMkLst>
      </pc:sldChg>
      <pc:sldChg chg="modTransition">
        <pc:chgData name="Jack Tracey" userId="98dee47e-7932-4ede-ad91-867e883fbe46" providerId="ADAL" clId="{090785AB-5754-4084-A821-0DCC1536D9DF}" dt="2019-11-24T15:25:37.321" v="8871"/>
        <pc:sldMkLst>
          <pc:docMk/>
          <pc:sldMk cId="1232005764" sldId="2076136864"/>
        </pc:sldMkLst>
      </pc:sldChg>
      <pc:sldChg chg="addSp delSp modTransition">
        <pc:chgData name="Jack Tracey" userId="98dee47e-7932-4ede-ad91-867e883fbe46" providerId="ADAL" clId="{090785AB-5754-4084-A821-0DCC1536D9DF}" dt="2019-11-24T15:25:37.321" v="8871"/>
        <pc:sldMkLst>
          <pc:docMk/>
          <pc:sldMk cId="1630211687" sldId="2076136868"/>
        </pc:sldMkLst>
        <pc:spChg chg="add">
          <ac:chgData name="Jack Tracey" userId="98dee47e-7932-4ede-ad91-867e883fbe46" providerId="ADAL" clId="{090785AB-5754-4084-A821-0DCC1536D9DF}" dt="2019-11-23T16:08:38.679" v="7236"/>
          <ac:spMkLst>
            <pc:docMk/>
            <pc:sldMk cId="1630211687" sldId="2076136868"/>
            <ac:spMk id="63" creationId="{0D1EFD4F-1DE5-4F80-8AE5-0A30050C613C}"/>
          </ac:spMkLst>
        </pc:spChg>
        <pc:spChg chg="add">
          <ac:chgData name="Jack Tracey" userId="98dee47e-7932-4ede-ad91-867e883fbe46" providerId="ADAL" clId="{090785AB-5754-4084-A821-0DCC1536D9DF}" dt="2019-11-23T16:08:38.679" v="7236"/>
          <ac:spMkLst>
            <pc:docMk/>
            <pc:sldMk cId="1630211687" sldId="2076136868"/>
            <ac:spMk id="69" creationId="{13E1D168-2263-4A2D-B81E-3E8E37593761}"/>
          </ac:spMkLst>
        </pc:spChg>
        <pc:spChg chg="del">
          <ac:chgData name="Jack Tracey" userId="98dee47e-7932-4ede-ad91-867e883fbe46" providerId="ADAL" clId="{090785AB-5754-4084-A821-0DCC1536D9DF}" dt="2019-11-23T16:08:38.291" v="7235" actId="478"/>
          <ac:spMkLst>
            <pc:docMk/>
            <pc:sldMk cId="1630211687" sldId="2076136868"/>
            <ac:spMk id="103" creationId="{D24875B8-93FE-DB47-8428-40BF9DD174F6}"/>
          </ac:spMkLst>
        </pc:spChg>
        <pc:picChg chg="add">
          <ac:chgData name="Jack Tracey" userId="98dee47e-7932-4ede-ad91-867e883fbe46" providerId="ADAL" clId="{090785AB-5754-4084-A821-0DCC1536D9DF}" dt="2019-11-23T16:09:04.999" v="7237"/>
          <ac:picMkLst>
            <pc:docMk/>
            <pc:sldMk cId="1630211687" sldId="2076136868"/>
            <ac:picMk id="70" creationId="{0AD6BAE1-A1C1-41EA-9FB0-68C17304ADEC}"/>
          </ac:picMkLst>
        </pc:picChg>
      </pc:sldChg>
      <pc:sldChg chg="modTransition">
        <pc:chgData name="Jack Tracey" userId="98dee47e-7932-4ede-ad91-867e883fbe46" providerId="ADAL" clId="{090785AB-5754-4084-A821-0DCC1536D9DF}" dt="2019-11-24T15:25:37.321" v="8871"/>
        <pc:sldMkLst>
          <pc:docMk/>
          <pc:sldMk cId="3618126319" sldId="2076136877"/>
        </pc:sldMkLst>
      </pc:sldChg>
      <pc:sldChg chg="modTransition">
        <pc:chgData name="Jack Tracey" userId="98dee47e-7932-4ede-ad91-867e883fbe46" providerId="ADAL" clId="{090785AB-5754-4084-A821-0DCC1536D9DF}" dt="2019-11-24T15:25:37.321" v="8871"/>
        <pc:sldMkLst>
          <pc:docMk/>
          <pc:sldMk cId="2329750348" sldId="2076136881"/>
        </pc:sldMkLst>
      </pc:sldChg>
      <pc:sldChg chg="modTransition">
        <pc:chgData name="Jack Tracey" userId="98dee47e-7932-4ede-ad91-867e883fbe46" providerId="ADAL" clId="{090785AB-5754-4084-A821-0DCC1536D9DF}" dt="2019-11-24T15:25:37.321" v="8871"/>
        <pc:sldMkLst>
          <pc:docMk/>
          <pc:sldMk cId="1426530745" sldId="2076136909"/>
        </pc:sldMkLst>
      </pc:sldChg>
      <pc:sldChg chg="modTransition">
        <pc:chgData name="Jack Tracey" userId="98dee47e-7932-4ede-ad91-867e883fbe46" providerId="ADAL" clId="{090785AB-5754-4084-A821-0DCC1536D9DF}" dt="2019-11-24T15:25:37.321" v="8871"/>
        <pc:sldMkLst>
          <pc:docMk/>
          <pc:sldMk cId="2684333612" sldId="2076136920"/>
        </pc:sldMkLst>
      </pc:sldChg>
      <pc:sldChg chg="addSp delSp modSp modTransition modNotes modNotesTx">
        <pc:chgData name="Jack Tracey" userId="98dee47e-7932-4ede-ad91-867e883fbe46" providerId="ADAL" clId="{090785AB-5754-4084-A821-0DCC1536D9DF}" dt="2019-11-24T15:25:37.321" v="8871"/>
        <pc:sldMkLst>
          <pc:docMk/>
          <pc:sldMk cId="262193409" sldId="2076136984"/>
        </pc:sldMkLst>
        <pc:spChg chg="del">
          <ac:chgData name="Jack Tracey" userId="98dee47e-7932-4ede-ad91-867e883fbe46" providerId="ADAL" clId="{090785AB-5754-4084-A821-0DCC1536D9DF}" dt="2019-11-23T16:31:09.759" v="7337" actId="478"/>
          <ac:spMkLst>
            <pc:docMk/>
            <pc:sldMk cId="262193409" sldId="2076136984"/>
            <ac:spMk id="2" creationId="{3F9BBE31-3B7A-4E80-AF34-578C176D348E}"/>
          </ac:spMkLst>
        </pc:spChg>
        <pc:spChg chg="add del mod">
          <ac:chgData name="Jack Tracey" userId="98dee47e-7932-4ede-ad91-867e883fbe46" providerId="ADAL" clId="{090785AB-5754-4084-A821-0DCC1536D9DF}" dt="2019-11-23T16:31:10.986" v="7338" actId="478"/>
          <ac:spMkLst>
            <pc:docMk/>
            <pc:sldMk cId="262193409" sldId="2076136984"/>
            <ac:spMk id="10" creationId="{477BD878-2076-44D7-9B98-DDA8C4428454}"/>
          </ac:spMkLst>
        </pc:spChg>
        <pc:spChg chg="add mod">
          <ac:chgData name="Jack Tracey" userId="98dee47e-7932-4ede-ad91-867e883fbe46" providerId="ADAL" clId="{090785AB-5754-4084-A821-0DCC1536D9DF}" dt="2019-11-23T16:31:42.167" v="7360" actId="14100"/>
          <ac:spMkLst>
            <pc:docMk/>
            <pc:sldMk cId="262193409" sldId="2076136984"/>
            <ac:spMk id="92" creationId="{A330CD7A-9EE3-4ABE-81BF-99EFB8DA031F}"/>
          </ac:spMkLst>
        </pc:spChg>
        <pc:spChg chg="add mod">
          <ac:chgData name="Jack Tracey" userId="98dee47e-7932-4ede-ad91-867e883fbe46" providerId="ADAL" clId="{090785AB-5754-4084-A821-0DCC1536D9DF}" dt="2019-11-23T16:31:38.413" v="7359" actId="20577"/>
          <ac:spMkLst>
            <pc:docMk/>
            <pc:sldMk cId="262193409" sldId="2076136984"/>
            <ac:spMk id="93" creationId="{C133EB4F-F56A-4BA0-9A02-1F46509F6F6F}"/>
          </ac:spMkLst>
        </pc:spChg>
        <pc:grpChg chg="mod">
          <ac:chgData name="Jack Tracey" userId="98dee47e-7932-4ede-ad91-867e883fbe46" providerId="ADAL" clId="{090785AB-5754-4084-A821-0DCC1536D9DF}" dt="2019-11-23T16:31:14.459" v="7339" actId="1076"/>
          <ac:grpSpMkLst>
            <pc:docMk/>
            <pc:sldMk cId="262193409" sldId="2076136984"/>
            <ac:grpSpMk id="45" creationId="{6575BFED-4F56-44D7-BC29-05CC0EB2F160}"/>
          </ac:grpSpMkLst>
        </pc:grpChg>
        <pc:grpChg chg="mod">
          <ac:chgData name="Jack Tracey" userId="98dee47e-7932-4ede-ad91-867e883fbe46" providerId="ADAL" clId="{090785AB-5754-4084-A821-0DCC1536D9DF}" dt="2019-11-23T16:31:14.459" v="7339" actId="1076"/>
          <ac:grpSpMkLst>
            <pc:docMk/>
            <pc:sldMk cId="262193409" sldId="2076136984"/>
            <ac:grpSpMk id="46" creationId="{BFCFEE46-C30F-49BD-ADA0-4C1530C53AB0}"/>
          </ac:grpSpMkLst>
        </pc:grpChg>
        <pc:grpChg chg="mod">
          <ac:chgData name="Jack Tracey" userId="98dee47e-7932-4ede-ad91-867e883fbe46" providerId="ADAL" clId="{090785AB-5754-4084-A821-0DCC1536D9DF}" dt="2019-11-23T16:31:14.459" v="7339" actId="1076"/>
          <ac:grpSpMkLst>
            <pc:docMk/>
            <pc:sldMk cId="262193409" sldId="2076136984"/>
            <ac:grpSpMk id="47" creationId="{8C55852E-10B2-4401-A5B6-CE129E6AF3F8}"/>
          </ac:grpSpMkLst>
        </pc:grpChg>
        <pc:grpChg chg="mod">
          <ac:chgData name="Jack Tracey" userId="98dee47e-7932-4ede-ad91-867e883fbe46" providerId="ADAL" clId="{090785AB-5754-4084-A821-0DCC1536D9DF}" dt="2019-11-23T16:31:14.459" v="7339" actId="1076"/>
          <ac:grpSpMkLst>
            <pc:docMk/>
            <pc:sldMk cId="262193409" sldId="2076136984"/>
            <ac:grpSpMk id="48" creationId="{41EDF76B-341A-4D95-8F4E-2DE38505A5C3}"/>
          </ac:grpSpMkLst>
        </pc:grpChg>
        <pc:grpChg chg="mod">
          <ac:chgData name="Jack Tracey" userId="98dee47e-7932-4ede-ad91-867e883fbe46" providerId="ADAL" clId="{090785AB-5754-4084-A821-0DCC1536D9DF}" dt="2019-11-23T16:31:14.459" v="7339" actId="1076"/>
          <ac:grpSpMkLst>
            <pc:docMk/>
            <pc:sldMk cId="262193409" sldId="2076136984"/>
            <ac:grpSpMk id="49" creationId="{72C81D83-4209-4C90-8079-9A1A2D164AA6}"/>
          </ac:grpSpMkLst>
        </pc:grpChg>
        <pc:grpChg chg="mod">
          <ac:chgData name="Jack Tracey" userId="98dee47e-7932-4ede-ad91-867e883fbe46" providerId="ADAL" clId="{090785AB-5754-4084-A821-0DCC1536D9DF}" dt="2019-11-23T16:31:14.459" v="7339" actId="1076"/>
          <ac:grpSpMkLst>
            <pc:docMk/>
            <pc:sldMk cId="262193409" sldId="2076136984"/>
            <ac:grpSpMk id="52" creationId="{AA26F911-92CA-4B7E-8A88-09963B737630}"/>
          </ac:grpSpMkLst>
        </pc:grpChg>
        <pc:grpChg chg="mod">
          <ac:chgData name="Jack Tracey" userId="98dee47e-7932-4ede-ad91-867e883fbe46" providerId="ADAL" clId="{090785AB-5754-4084-A821-0DCC1536D9DF}" dt="2019-11-23T16:31:14.459" v="7339" actId="1076"/>
          <ac:grpSpMkLst>
            <pc:docMk/>
            <pc:sldMk cId="262193409" sldId="2076136984"/>
            <ac:grpSpMk id="55" creationId="{79DFE170-5345-4B04-A66B-475E7DCB6DD7}"/>
          </ac:grpSpMkLst>
        </pc:grpChg>
        <pc:grpChg chg="mod">
          <ac:chgData name="Jack Tracey" userId="98dee47e-7932-4ede-ad91-867e883fbe46" providerId="ADAL" clId="{090785AB-5754-4084-A821-0DCC1536D9DF}" dt="2019-11-23T16:31:14.459" v="7339" actId="1076"/>
          <ac:grpSpMkLst>
            <pc:docMk/>
            <pc:sldMk cId="262193409" sldId="2076136984"/>
            <ac:grpSpMk id="58" creationId="{04D741B2-A24C-4725-A902-A84FA95797C9}"/>
          </ac:grpSpMkLst>
        </pc:grpChg>
        <pc:grpChg chg="mod">
          <ac:chgData name="Jack Tracey" userId="98dee47e-7932-4ede-ad91-867e883fbe46" providerId="ADAL" clId="{090785AB-5754-4084-A821-0DCC1536D9DF}" dt="2019-11-23T16:31:14.459" v="7339" actId="1076"/>
          <ac:grpSpMkLst>
            <pc:docMk/>
            <pc:sldMk cId="262193409" sldId="2076136984"/>
            <ac:grpSpMk id="59" creationId="{51BB1BEB-DF17-4FD8-B4A0-59C06854EB12}"/>
          </ac:grpSpMkLst>
        </pc:grpChg>
        <pc:grpChg chg="mod">
          <ac:chgData name="Jack Tracey" userId="98dee47e-7932-4ede-ad91-867e883fbe46" providerId="ADAL" clId="{090785AB-5754-4084-A821-0DCC1536D9DF}" dt="2019-11-23T16:31:14.459" v="7339" actId="1076"/>
          <ac:grpSpMkLst>
            <pc:docMk/>
            <pc:sldMk cId="262193409" sldId="2076136984"/>
            <ac:grpSpMk id="60" creationId="{2ACB0144-F1D7-46DF-90C6-1409562009FE}"/>
          </ac:grpSpMkLst>
        </pc:grpChg>
        <pc:grpChg chg="mod">
          <ac:chgData name="Jack Tracey" userId="98dee47e-7932-4ede-ad91-867e883fbe46" providerId="ADAL" clId="{090785AB-5754-4084-A821-0DCC1536D9DF}" dt="2019-11-23T16:31:14.459" v="7339" actId="1076"/>
          <ac:grpSpMkLst>
            <pc:docMk/>
            <pc:sldMk cId="262193409" sldId="2076136984"/>
            <ac:grpSpMk id="61" creationId="{0D8CDC35-E837-482B-9C7B-E4E79ECA25E0}"/>
          </ac:grpSpMkLst>
        </pc:grpChg>
        <pc:grpChg chg="mod">
          <ac:chgData name="Jack Tracey" userId="98dee47e-7932-4ede-ad91-867e883fbe46" providerId="ADAL" clId="{090785AB-5754-4084-A821-0DCC1536D9DF}" dt="2019-11-23T16:31:14.459" v="7339" actId="1076"/>
          <ac:grpSpMkLst>
            <pc:docMk/>
            <pc:sldMk cId="262193409" sldId="2076136984"/>
            <ac:grpSpMk id="64" creationId="{74ACE22D-14E3-4BC9-8AAF-E6C63E96593F}"/>
          </ac:grpSpMkLst>
        </pc:grpChg>
        <pc:grpChg chg="mod">
          <ac:chgData name="Jack Tracey" userId="98dee47e-7932-4ede-ad91-867e883fbe46" providerId="ADAL" clId="{090785AB-5754-4084-A821-0DCC1536D9DF}" dt="2019-11-23T16:31:14.459" v="7339" actId="1076"/>
          <ac:grpSpMkLst>
            <pc:docMk/>
            <pc:sldMk cId="262193409" sldId="2076136984"/>
            <ac:grpSpMk id="65" creationId="{9F6F97BD-6596-45DD-B22C-5B1ACCBFDE18}"/>
          </ac:grpSpMkLst>
        </pc:grpChg>
        <pc:grpChg chg="mod">
          <ac:chgData name="Jack Tracey" userId="98dee47e-7932-4ede-ad91-867e883fbe46" providerId="ADAL" clId="{090785AB-5754-4084-A821-0DCC1536D9DF}" dt="2019-11-23T16:31:14.459" v="7339" actId="1076"/>
          <ac:grpSpMkLst>
            <pc:docMk/>
            <pc:sldMk cId="262193409" sldId="2076136984"/>
            <ac:grpSpMk id="66" creationId="{C50E1C60-5456-4B9F-B89D-1CC276675456}"/>
          </ac:grpSpMkLst>
        </pc:grpChg>
        <pc:grpChg chg="mod">
          <ac:chgData name="Jack Tracey" userId="98dee47e-7932-4ede-ad91-867e883fbe46" providerId="ADAL" clId="{090785AB-5754-4084-A821-0DCC1536D9DF}" dt="2019-11-23T16:31:14.459" v="7339" actId="1076"/>
          <ac:grpSpMkLst>
            <pc:docMk/>
            <pc:sldMk cId="262193409" sldId="2076136984"/>
            <ac:grpSpMk id="74" creationId="{32FF6C79-5BD2-4C77-88A8-2B2C119B1C39}"/>
          </ac:grpSpMkLst>
        </pc:grpChg>
        <pc:grpChg chg="mod">
          <ac:chgData name="Jack Tracey" userId="98dee47e-7932-4ede-ad91-867e883fbe46" providerId="ADAL" clId="{090785AB-5754-4084-A821-0DCC1536D9DF}" dt="2019-11-23T16:31:14.459" v="7339" actId="1076"/>
          <ac:grpSpMkLst>
            <pc:docMk/>
            <pc:sldMk cId="262193409" sldId="2076136984"/>
            <ac:grpSpMk id="75" creationId="{A7CBE5CF-7555-4CF8-8E9F-6B72F084637C}"/>
          </ac:grpSpMkLst>
        </pc:grpChg>
        <pc:grpChg chg="mod">
          <ac:chgData name="Jack Tracey" userId="98dee47e-7932-4ede-ad91-867e883fbe46" providerId="ADAL" clId="{090785AB-5754-4084-A821-0DCC1536D9DF}" dt="2019-11-23T16:31:14.459" v="7339" actId="1076"/>
          <ac:grpSpMkLst>
            <pc:docMk/>
            <pc:sldMk cId="262193409" sldId="2076136984"/>
            <ac:grpSpMk id="81" creationId="{C36FF57D-26C1-4BBC-A05F-57542E76251B}"/>
          </ac:grpSpMkLst>
        </pc:grpChg>
        <pc:grpChg chg="mod">
          <ac:chgData name="Jack Tracey" userId="98dee47e-7932-4ede-ad91-867e883fbe46" providerId="ADAL" clId="{090785AB-5754-4084-A821-0DCC1536D9DF}" dt="2019-11-23T16:31:14.459" v="7339" actId="1076"/>
          <ac:grpSpMkLst>
            <pc:docMk/>
            <pc:sldMk cId="262193409" sldId="2076136984"/>
            <ac:grpSpMk id="82" creationId="{4A7A4106-719D-4FEB-8F73-190B76E7F475}"/>
          </ac:grpSpMkLst>
        </pc:grpChg>
        <pc:picChg chg="add">
          <ac:chgData name="Jack Tracey" userId="98dee47e-7932-4ede-ad91-867e883fbe46" providerId="ADAL" clId="{090785AB-5754-4084-A821-0DCC1536D9DF}" dt="2019-11-23T16:31:24.464" v="7340"/>
          <ac:picMkLst>
            <pc:docMk/>
            <pc:sldMk cId="262193409" sldId="2076136984"/>
            <ac:picMk id="94" creationId="{524D7A26-7A19-42A7-8BA4-E623D4003653}"/>
          </ac:picMkLst>
        </pc:picChg>
      </pc:sldChg>
      <pc:sldChg chg="addSp delSp modSp modTransition">
        <pc:chgData name="Jack Tracey" userId="98dee47e-7932-4ede-ad91-867e883fbe46" providerId="ADAL" clId="{090785AB-5754-4084-A821-0DCC1536D9DF}" dt="2019-11-24T15:25:37.321" v="8871"/>
        <pc:sldMkLst>
          <pc:docMk/>
          <pc:sldMk cId="1602333763" sldId="2076136988"/>
        </pc:sldMkLst>
        <pc:spChg chg="del">
          <ac:chgData name="Jack Tracey" userId="98dee47e-7932-4ede-ad91-867e883fbe46" providerId="ADAL" clId="{090785AB-5754-4084-A821-0DCC1536D9DF}" dt="2019-11-23T16:26:02.665" v="7248" actId="478"/>
          <ac:spMkLst>
            <pc:docMk/>
            <pc:sldMk cId="1602333763" sldId="2076136988"/>
            <ac:spMk id="2" creationId="{FB5BD139-694D-4E3A-B8AF-BA257B474BB4}"/>
          </ac:spMkLst>
        </pc:spChg>
        <pc:spChg chg="add del mod">
          <ac:chgData name="Jack Tracey" userId="98dee47e-7932-4ede-ad91-867e883fbe46" providerId="ADAL" clId="{090785AB-5754-4084-A821-0DCC1536D9DF}" dt="2019-11-23T16:26:04.179" v="7249" actId="478"/>
          <ac:spMkLst>
            <pc:docMk/>
            <pc:sldMk cId="1602333763" sldId="2076136988"/>
            <ac:spMk id="5" creationId="{D560B4CB-6545-4092-BD8D-9DE7228E893C}"/>
          </ac:spMkLst>
        </pc:spChg>
        <pc:spChg chg="add del">
          <ac:chgData name="Jack Tracey" userId="98dee47e-7932-4ede-ad91-867e883fbe46" providerId="ADAL" clId="{090785AB-5754-4084-A821-0DCC1536D9DF}" dt="2019-11-23T16:26:11.805" v="7251"/>
          <ac:spMkLst>
            <pc:docMk/>
            <pc:sldMk cId="1602333763" sldId="2076136988"/>
            <ac:spMk id="22" creationId="{DEDFE051-41DB-4B09-AA59-3E2A36DBBFA3}"/>
          </ac:spMkLst>
        </pc:spChg>
        <pc:spChg chg="add del">
          <ac:chgData name="Jack Tracey" userId="98dee47e-7932-4ede-ad91-867e883fbe46" providerId="ADAL" clId="{090785AB-5754-4084-A821-0DCC1536D9DF}" dt="2019-11-23T16:26:11.805" v="7251"/>
          <ac:spMkLst>
            <pc:docMk/>
            <pc:sldMk cId="1602333763" sldId="2076136988"/>
            <ac:spMk id="23" creationId="{A1BCA166-DCA1-49F9-9E3D-51929025C76B}"/>
          </ac:spMkLst>
        </pc:spChg>
        <pc:spChg chg="add mod">
          <ac:chgData name="Jack Tracey" userId="98dee47e-7932-4ede-ad91-867e883fbe46" providerId="ADAL" clId="{090785AB-5754-4084-A821-0DCC1536D9DF}" dt="2019-11-23T16:26:54.085" v="7298" actId="14100"/>
          <ac:spMkLst>
            <pc:docMk/>
            <pc:sldMk cId="1602333763" sldId="2076136988"/>
            <ac:spMk id="24" creationId="{30943FAE-81A2-46C5-83FE-C315054E6D35}"/>
          </ac:spMkLst>
        </pc:spChg>
        <pc:spChg chg="add mod">
          <ac:chgData name="Jack Tracey" userId="98dee47e-7932-4ede-ad91-867e883fbe46" providerId="ADAL" clId="{090785AB-5754-4084-A821-0DCC1536D9DF}" dt="2019-11-23T16:26:50.319" v="7297" actId="20577"/>
          <ac:spMkLst>
            <pc:docMk/>
            <pc:sldMk cId="1602333763" sldId="2076136988"/>
            <ac:spMk id="25" creationId="{FF55408F-4A8D-4B0C-AEA0-34FF4595365B}"/>
          </ac:spMkLst>
        </pc:spChg>
        <pc:picChg chg="add">
          <ac:chgData name="Jack Tracey" userId="98dee47e-7932-4ede-ad91-867e883fbe46" providerId="ADAL" clId="{090785AB-5754-4084-A821-0DCC1536D9DF}" dt="2019-11-23T16:28:39.177" v="7304"/>
          <ac:picMkLst>
            <pc:docMk/>
            <pc:sldMk cId="1602333763" sldId="2076136988"/>
            <ac:picMk id="26" creationId="{950E3A98-B356-4FBF-8510-036F303EB6FB}"/>
          </ac:picMkLst>
        </pc:picChg>
      </pc:sldChg>
      <pc:sldChg chg="addSp delSp modSp modTransition">
        <pc:chgData name="Jack Tracey" userId="98dee47e-7932-4ede-ad91-867e883fbe46" providerId="ADAL" clId="{090785AB-5754-4084-A821-0DCC1536D9DF}" dt="2019-11-24T15:25:37.321" v="8871"/>
        <pc:sldMkLst>
          <pc:docMk/>
          <pc:sldMk cId="1512282852" sldId="2076136999"/>
        </pc:sldMkLst>
        <pc:spChg chg="add">
          <ac:chgData name="Jack Tracey" userId="98dee47e-7932-4ede-ad91-867e883fbe46" providerId="ADAL" clId="{090785AB-5754-4084-A821-0DCC1536D9DF}" dt="2019-11-23T17:05:23.722" v="7831"/>
          <ac:spMkLst>
            <pc:docMk/>
            <pc:sldMk cId="1512282852" sldId="2076136999"/>
            <ac:spMk id="16" creationId="{02452510-0CE0-4261-A4BC-E2FB6A3B3884}"/>
          </ac:spMkLst>
        </pc:spChg>
        <pc:spChg chg="add mod">
          <ac:chgData name="Jack Tracey" userId="98dee47e-7932-4ede-ad91-867e883fbe46" providerId="ADAL" clId="{090785AB-5754-4084-A821-0DCC1536D9DF}" dt="2019-11-23T17:05:29.833" v="7849" actId="20577"/>
          <ac:spMkLst>
            <pc:docMk/>
            <pc:sldMk cId="1512282852" sldId="2076136999"/>
            <ac:spMk id="17" creationId="{A9B7B19A-0A09-41EC-8F7F-82C4F93426C0}"/>
          </ac:spMkLst>
        </pc:spChg>
        <pc:spChg chg="del">
          <ac:chgData name="Jack Tracey" userId="98dee47e-7932-4ede-ad91-867e883fbe46" providerId="ADAL" clId="{090785AB-5754-4084-A821-0DCC1536D9DF}" dt="2019-11-23T17:05:17.247" v="7830" actId="478"/>
          <ac:spMkLst>
            <pc:docMk/>
            <pc:sldMk cId="1512282852" sldId="2076136999"/>
            <ac:spMk id="21" creationId="{5739A797-B0AC-4686-80D7-A7F9626ED2B0}"/>
          </ac:spMkLst>
        </pc:spChg>
        <pc:spChg chg="mod">
          <ac:chgData name="Jack Tracey" userId="98dee47e-7932-4ede-ad91-867e883fbe46" providerId="ADAL" clId="{090785AB-5754-4084-A821-0DCC1536D9DF}" dt="2019-11-23T17:05:38.770" v="7850" actId="1076"/>
          <ac:spMkLst>
            <pc:docMk/>
            <pc:sldMk cId="1512282852" sldId="2076136999"/>
            <ac:spMk id="24" creationId="{58F0DBF0-C59E-497E-AED3-CCDB9ADF47AC}"/>
          </ac:spMkLst>
        </pc:spChg>
        <pc:picChg chg="add">
          <ac:chgData name="Jack Tracey" userId="98dee47e-7932-4ede-ad91-867e883fbe46" providerId="ADAL" clId="{090785AB-5754-4084-A821-0DCC1536D9DF}" dt="2019-11-23T17:05:23.722" v="7831"/>
          <ac:picMkLst>
            <pc:docMk/>
            <pc:sldMk cId="1512282852" sldId="2076136999"/>
            <ac:picMk id="18" creationId="{AF528C12-662E-44BE-85F9-4CC10BB54B2E}"/>
          </ac:picMkLst>
        </pc:picChg>
      </pc:sldChg>
      <pc:sldChg chg="addSp delSp modSp modTransition">
        <pc:chgData name="Jack Tracey" userId="98dee47e-7932-4ede-ad91-867e883fbe46" providerId="ADAL" clId="{090785AB-5754-4084-A821-0DCC1536D9DF}" dt="2019-11-24T15:25:37.321" v="8871"/>
        <pc:sldMkLst>
          <pc:docMk/>
          <pc:sldMk cId="292707611" sldId="2076137121"/>
        </pc:sldMkLst>
        <pc:spChg chg="del">
          <ac:chgData name="Jack Tracey" userId="98dee47e-7932-4ede-ad91-867e883fbe46" providerId="ADAL" clId="{090785AB-5754-4084-A821-0DCC1536D9DF}" dt="2019-11-23T16:32:05.643" v="7361" actId="478"/>
          <ac:spMkLst>
            <pc:docMk/>
            <pc:sldMk cId="292707611" sldId="2076137121"/>
            <ac:spMk id="2" creationId="{5B59BE6A-9251-4324-8248-F737B79B1A4B}"/>
          </ac:spMkLst>
        </pc:spChg>
        <pc:spChg chg="add del mod">
          <ac:chgData name="Jack Tracey" userId="98dee47e-7932-4ede-ad91-867e883fbe46" providerId="ADAL" clId="{090785AB-5754-4084-A821-0DCC1536D9DF}" dt="2019-11-23T16:32:06.355" v="7362" actId="478"/>
          <ac:spMkLst>
            <pc:docMk/>
            <pc:sldMk cId="292707611" sldId="2076137121"/>
            <ac:spMk id="5" creationId="{F5311EAB-AD1C-4111-8989-1EC99AB67CC7}"/>
          </ac:spMkLst>
        </pc:spChg>
        <pc:spChg chg="add mod">
          <ac:chgData name="Jack Tracey" userId="98dee47e-7932-4ede-ad91-867e883fbe46" providerId="ADAL" clId="{090785AB-5754-4084-A821-0DCC1536D9DF}" dt="2019-11-23T16:32:24.762" v="7381" actId="14100"/>
          <ac:spMkLst>
            <pc:docMk/>
            <pc:sldMk cId="292707611" sldId="2076137121"/>
            <ac:spMk id="156" creationId="{E659CE62-5DE6-4DB7-9DAA-C659135B69CD}"/>
          </ac:spMkLst>
        </pc:spChg>
        <pc:spChg chg="add mod">
          <ac:chgData name="Jack Tracey" userId="98dee47e-7932-4ede-ad91-867e883fbe46" providerId="ADAL" clId="{090785AB-5754-4084-A821-0DCC1536D9DF}" dt="2019-11-23T16:32:20.802" v="7380" actId="20577"/>
          <ac:spMkLst>
            <pc:docMk/>
            <pc:sldMk cId="292707611" sldId="2076137121"/>
            <ac:spMk id="157" creationId="{B462AA0B-FB86-4A55-B491-5F6AADC8E202}"/>
          </ac:spMkLst>
        </pc:spChg>
        <pc:grpChg chg="mod">
          <ac:chgData name="Jack Tracey" userId="98dee47e-7932-4ede-ad91-867e883fbe46" providerId="ADAL" clId="{090785AB-5754-4084-A821-0DCC1536D9DF}" dt="2019-11-23T16:32:30.251" v="7427" actId="1037"/>
          <ac:grpSpMkLst>
            <pc:docMk/>
            <pc:sldMk cId="292707611" sldId="2076137121"/>
            <ac:grpSpMk id="9" creationId="{4B0C3B6E-CE19-482F-8D37-968F6C916B37}"/>
          </ac:grpSpMkLst>
        </pc:grpChg>
        <pc:grpChg chg="mod">
          <ac:chgData name="Jack Tracey" userId="98dee47e-7932-4ede-ad91-867e883fbe46" providerId="ADAL" clId="{090785AB-5754-4084-A821-0DCC1536D9DF}" dt="2019-11-23T16:32:30.251" v="7427" actId="1037"/>
          <ac:grpSpMkLst>
            <pc:docMk/>
            <pc:sldMk cId="292707611" sldId="2076137121"/>
            <ac:grpSpMk id="10" creationId="{251A00F9-7E3A-412D-8DDF-957C869B463D}"/>
          </ac:grpSpMkLst>
        </pc:grpChg>
        <pc:grpChg chg="mod">
          <ac:chgData name="Jack Tracey" userId="98dee47e-7932-4ede-ad91-867e883fbe46" providerId="ADAL" clId="{090785AB-5754-4084-A821-0DCC1536D9DF}" dt="2019-11-23T16:32:30.251" v="7427" actId="1037"/>
          <ac:grpSpMkLst>
            <pc:docMk/>
            <pc:sldMk cId="292707611" sldId="2076137121"/>
            <ac:grpSpMk id="113" creationId="{5D1F08A4-496C-43FD-B323-7301F8237A61}"/>
          </ac:grpSpMkLst>
        </pc:grpChg>
        <pc:grpChg chg="mod">
          <ac:chgData name="Jack Tracey" userId="98dee47e-7932-4ede-ad91-867e883fbe46" providerId="ADAL" clId="{090785AB-5754-4084-A821-0DCC1536D9DF}" dt="2019-11-23T16:32:30.251" v="7427" actId="1037"/>
          <ac:grpSpMkLst>
            <pc:docMk/>
            <pc:sldMk cId="292707611" sldId="2076137121"/>
            <ac:grpSpMk id="114" creationId="{14079BD1-947F-45D5-B6A2-9E2E1573A7DF}"/>
          </ac:grpSpMkLst>
        </pc:grpChg>
        <pc:grpChg chg="mod">
          <ac:chgData name="Jack Tracey" userId="98dee47e-7932-4ede-ad91-867e883fbe46" providerId="ADAL" clId="{090785AB-5754-4084-A821-0DCC1536D9DF}" dt="2019-11-23T16:32:30.251" v="7427" actId="1037"/>
          <ac:grpSpMkLst>
            <pc:docMk/>
            <pc:sldMk cId="292707611" sldId="2076137121"/>
            <ac:grpSpMk id="117" creationId="{F5E76BD4-3912-4C71-BD0E-3E8A27570F8D}"/>
          </ac:grpSpMkLst>
        </pc:grpChg>
        <pc:grpChg chg="mod">
          <ac:chgData name="Jack Tracey" userId="98dee47e-7932-4ede-ad91-867e883fbe46" providerId="ADAL" clId="{090785AB-5754-4084-A821-0DCC1536D9DF}" dt="2019-11-23T16:32:30.251" v="7427" actId="1037"/>
          <ac:grpSpMkLst>
            <pc:docMk/>
            <pc:sldMk cId="292707611" sldId="2076137121"/>
            <ac:grpSpMk id="123" creationId="{9B5AB059-92F0-435B-B7B3-DFD714DEAAF1}"/>
          </ac:grpSpMkLst>
        </pc:grpChg>
        <pc:grpChg chg="mod">
          <ac:chgData name="Jack Tracey" userId="98dee47e-7932-4ede-ad91-867e883fbe46" providerId="ADAL" clId="{090785AB-5754-4084-A821-0DCC1536D9DF}" dt="2019-11-23T16:32:30.251" v="7427" actId="1037"/>
          <ac:grpSpMkLst>
            <pc:docMk/>
            <pc:sldMk cId="292707611" sldId="2076137121"/>
            <ac:grpSpMk id="124" creationId="{7BC88007-1654-4C2D-A840-516434F16F1F}"/>
          </ac:grpSpMkLst>
        </pc:grpChg>
        <pc:grpChg chg="mod">
          <ac:chgData name="Jack Tracey" userId="98dee47e-7932-4ede-ad91-867e883fbe46" providerId="ADAL" clId="{090785AB-5754-4084-A821-0DCC1536D9DF}" dt="2019-11-23T16:32:30.251" v="7427" actId="1037"/>
          <ac:grpSpMkLst>
            <pc:docMk/>
            <pc:sldMk cId="292707611" sldId="2076137121"/>
            <ac:grpSpMk id="127" creationId="{982354C4-D205-4BEF-A947-E9D2FDEE7B45}"/>
          </ac:grpSpMkLst>
        </pc:grpChg>
        <pc:grpChg chg="mod">
          <ac:chgData name="Jack Tracey" userId="98dee47e-7932-4ede-ad91-867e883fbe46" providerId="ADAL" clId="{090785AB-5754-4084-A821-0DCC1536D9DF}" dt="2019-11-23T16:32:30.251" v="7427" actId="1037"/>
          <ac:grpSpMkLst>
            <pc:docMk/>
            <pc:sldMk cId="292707611" sldId="2076137121"/>
            <ac:grpSpMk id="128" creationId="{0BD0475E-03D4-4E37-9F94-F0BBC7EE9CF0}"/>
          </ac:grpSpMkLst>
        </pc:grpChg>
        <pc:grpChg chg="mod">
          <ac:chgData name="Jack Tracey" userId="98dee47e-7932-4ede-ad91-867e883fbe46" providerId="ADAL" clId="{090785AB-5754-4084-A821-0DCC1536D9DF}" dt="2019-11-23T16:32:30.251" v="7427" actId="1037"/>
          <ac:grpSpMkLst>
            <pc:docMk/>
            <pc:sldMk cId="292707611" sldId="2076137121"/>
            <ac:grpSpMk id="129" creationId="{D59C87C1-39BF-4D6E-9BA6-1E92185BE62E}"/>
          </ac:grpSpMkLst>
        </pc:grpChg>
        <pc:grpChg chg="mod">
          <ac:chgData name="Jack Tracey" userId="98dee47e-7932-4ede-ad91-867e883fbe46" providerId="ADAL" clId="{090785AB-5754-4084-A821-0DCC1536D9DF}" dt="2019-11-23T16:32:30.251" v="7427" actId="1037"/>
          <ac:grpSpMkLst>
            <pc:docMk/>
            <pc:sldMk cId="292707611" sldId="2076137121"/>
            <ac:grpSpMk id="130" creationId="{A36565B0-89C6-475A-84B0-279B40B2B3DB}"/>
          </ac:grpSpMkLst>
        </pc:grpChg>
        <pc:grpChg chg="mod">
          <ac:chgData name="Jack Tracey" userId="98dee47e-7932-4ede-ad91-867e883fbe46" providerId="ADAL" clId="{090785AB-5754-4084-A821-0DCC1536D9DF}" dt="2019-11-23T16:32:30.251" v="7427" actId="1037"/>
          <ac:grpSpMkLst>
            <pc:docMk/>
            <pc:sldMk cId="292707611" sldId="2076137121"/>
            <ac:grpSpMk id="133" creationId="{078015D6-07AE-4B67-B3B3-785257804806}"/>
          </ac:grpSpMkLst>
        </pc:grpChg>
        <pc:grpChg chg="mod">
          <ac:chgData name="Jack Tracey" userId="98dee47e-7932-4ede-ad91-867e883fbe46" providerId="ADAL" clId="{090785AB-5754-4084-A821-0DCC1536D9DF}" dt="2019-11-23T16:32:30.251" v="7427" actId="1037"/>
          <ac:grpSpMkLst>
            <pc:docMk/>
            <pc:sldMk cId="292707611" sldId="2076137121"/>
            <ac:grpSpMk id="134" creationId="{B5568B15-2C43-4C44-A3BC-4037327314A3}"/>
          </ac:grpSpMkLst>
        </pc:grpChg>
        <pc:grpChg chg="mod">
          <ac:chgData name="Jack Tracey" userId="98dee47e-7932-4ede-ad91-867e883fbe46" providerId="ADAL" clId="{090785AB-5754-4084-A821-0DCC1536D9DF}" dt="2019-11-23T16:32:30.251" v="7427" actId="1037"/>
          <ac:grpSpMkLst>
            <pc:docMk/>
            <pc:sldMk cId="292707611" sldId="2076137121"/>
            <ac:grpSpMk id="135" creationId="{0D19A345-4D4D-47B4-8922-E13CB0FF4E04}"/>
          </ac:grpSpMkLst>
        </pc:grpChg>
        <pc:grpChg chg="mod">
          <ac:chgData name="Jack Tracey" userId="98dee47e-7932-4ede-ad91-867e883fbe46" providerId="ADAL" clId="{090785AB-5754-4084-A821-0DCC1536D9DF}" dt="2019-11-23T16:32:30.251" v="7427" actId="1037"/>
          <ac:grpSpMkLst>
            <pc:docMk/>
            <pc:sldMk cId="292707611" sldId="2076137121"/>
            <ac:grpSpMk id="143" creationId="{4584156F-AC89-47E5-90D3-A431E204543C}"/>
          </ac:grpSpMkLst>
        </pc:grpChg>
        <pc:grpChg chg="mod">
          <ac:chgData name="Jack Tracey" userId="98dee47e-7932-4ede-ad91-867e883fbe46" providerId="ADAL" clId="{090785AB-5754-4084-A821-0DCC1536D9DF}" dt="2019-11-23T16:32:30.251" v="7427" actId="1037"/>
          <ac:grpSpMkLst>
            <pc:docMk/>
            <pc:sldMk cId="292707611" sldId="2076137121"/>
            <ac:grpSpMk id="144" creationId="{40BA92BB-0B1A-42E0-981E-6208C919B32E}"/>
          </ac:grpSpMkLst>
        </pc:grpChg>
        <pc:grpChg chg="mod">
          <ac:chgData name="Jack Tracey" userId="98dee47e-7932-4ede-ad91-867e883fbe46" providerId="ADAL" clId="{090785AB-5754-4084-A821-0DCC1536D9DF}" dt="2019-11-23T16:32:30.251" v="7427" actId="1037"/>
          <ac:grpSpMkLst>
            <pc:docMk/>
            <pc:sldMk cId="292707611" sldId="2076137121"/>
            <ac:grpSpMk id="150" creationId="{20A66863-98D3-4AAD-98C0-2789B245BEB7}"/>
          </ac:grpSpMkLst>
        </pc:grpChg>
        <pc:grpChg chg="mod">
          <ac:chgData name="Jack Tracey" userId="98dee47e-7932-4ede-ad91-867e883fbe46" providerId="ADAL" clId="{090785AB-5754-4084-A821-0DCC1536D9DF}" dt="2019-11-23T16:32:30.251" v="7427" actId="1037"/>
          <ac:grpSpMkLst>
            <pc:docMk/>
            <pc:sldMk cId="292707611" sldId="2076137121"/>
            <ac:grpSpMk id="151" creationId="{1768F041-2B06-453E-B5EF-CA37D272F278}"/>
          </ac:grpSpMkLst>
        </pc:grpChg>
        <pc:picChg chg="add">
          <ac:chgData name="Jack Tracey" userId="98dee47e-7932-4ede-ad91-867e883fbe46" providerId="ADAL" clId="{090785AB-5754-4084-A821-0DCC1536D9DF}" dt="2019-11-23T16:32:13.052" v="7363"/>
          <ac:picMkLst>
            <pc:docMk/>
            <pc:sldMk cId="292707611" sldId="2076137121"/>
            <ac:picMk id="158" creationId="{94EAD0DF-F75A-49EF-B96A-5F9F26DD57A5}"/>
          </ac:picMkLst>
        </pc:picChg>
      </pc:sldChg>
      <pc:sldChg chg="addSp delSp modSp modTransition">
        <pc:chgData name="Jack Tracey" userId="98dee47e-7932-4ede-ad91-867e883fbe46" providerId="ADAL" clId="{090785AB-5754-4084-A821-0DCC1536D9DF}" dt="2019-11-24T15:25:37.321" v="8871"/>
        <pc:sldMkLst>
          <pc:docMk/>
          <pc:sldMk cId="4204827669" sldId="2076137164"/>
        </pc:sldMkLst>
        <pc:spChg chg="del">
          <ac:chgData name="Jack Tracey" userId="98dee47e-7932-4ede-ad91-867e883fbe46" providerId="ADAL" clId="{090785AB-5754-4084-A821-0DCC1536D9DF}" dt="2019-11-24T11:23:05.741" v="8510" actId="478"/>
          <ac:spMkLst>
            <pc:docMk/>
            <pc:sldMk cId="4204827669" sldId="2076137164"/>
            <ac:spMk id="3" creationId="{A147E07D-603D-4EAF-A322-5D468B2B7D9A}"/>
          </ac:spMkLst>
        </pc:spChg>
        <pc:spChg chg="add del mod">
          <ac:chgData name="Jack Tracey" userId="98dee47e-7932-4ede-ad91-867e883fbe46" providerId="ADAL" clId="{090785AB-5754-4084-A821-0DCC1536D9DF}" dt="2019-11-24T11:23:08.918" v="8512" actId="478"/>
          <ac:spMkLst>
            <pc:docMk/>
            <pc:sldMk cId="4204827669" sldId="2076137164"/>
            <ac:spMk id="12" creationId="{146B11EB-E702-4A08-95A4-0A1E2FFCA6C4}"/>
          </ac:spMkLst>
        </pc:spChg>
        <pc:spChg chg="add mod">
          <ac:chgData name="Jack Tracey" userId="98dee47e-7932-4ede-ad91-867e883fbe46" providerId="ADAL" clId="{090785AB-5754-4084-A821-0DCC1536D9DF}" dt="2019-11-24T11:23:24.868" v="8537" actId="14100"/>
          <ac:spMkLst>
            <pc:docMk/>
            <pc:sldMk cId="4204827669" sldId="2076137164"/>
            <ac:spMk id="100" creationId="{A62D1B4B-EE8D-469D-8002-96C8D190E16D}"/>
          </ac:spMkLst>
        </pc:spChg>
        <pc:spChg chg="add mod">
          <ac:chgData name="Jack Tracey" userId="98dee47e-7932-4ede-ad91-867e883fbe46" providerId="ADAL" clId="{090785AB-5754-4084-A821-0DCC1536D9DF}" dt="2019-11-24T11:23:18.264" v="8535" actId="20577"/>
          <ac:spMkLst>
            <pc:docMk/>
            <pc:sldMk cId="4204827669" sldId="2076137164"/>
            <ac:spMk id="101" creationId="{3CEF19D4-AD9A-4D10-ABBA-27D293F92937}"/>
          </ac:spMkLst>
        </pc:spChg>
        <pc:spChg chg="add mod">
          <ac:chgData name="Jack Tracey" userId="98dee47e-7932-4ede-ad91-867e883fbe46" providerId="ADAL" clId="{090785AB-5754-4084-A821-0DCC1536D9DF}" dt="2019-11-24T11:23:29.170" v="8570" actId="1038"/>
          <ac:spMkLst>
            <pc:docMk/>
            <pc:sldMk cId="4204827669" sldId="2076137164"/>
            <ac:spMk id="123" creationId="{58E37183-5CD4-455E-A655-BDA7DFCF2FF0}"/>
          </ac:spMkLst>
        </pc:spChg>
        <pc:picChg chg="add">
          <ac:chgData name="Jack Tracey" userId="98dee47e-7932-4ede-ad91-867e883fbe46" providerId="ADAL" clId="{090785AB-5754-4084-A821-0DCC1536D9DF}" dt="2019-11-24T11:23:06.398" v="8511"/>
          <ac:picMkLst>
            <pc:docMk/>
            <pc:sldMk cId="4204827669" sldId="2076137164"/>
            <ac:picMk id="102" creationId="{67F6B7FA-9772-45F4-9DD7-D50B3FBC4D04}"/>
          </ac:picMkLst>
        </pc:picChg>
      </pc:sldChg>
      <pc:sldChg chg="modTransition">
        <pc:chgData name="Jack Tracey" userId="98dee47e-7932-4ede-ad91-867e883fbe46" providerId="ADAL" clId="{090785AB-5754-4084-A821-0DCC1536D9DF}" dt="2019-11-24T15:25:37.321" v="8871"/>
        <pc:sldMkLst>
          <pc:docMk/>
          <pc:sldMk cId="1176442548" sldId="2076137166"/>
        </pc:sldMkLst>
      </pc:sldChg>
      <pc:sldChg chg="del">
        <pc:chgData name="Jack Tracey" userId="98dee47e-7932-4ede-ad91-867e883fbe46" providerId="ADAL" clId="{090785AB-5754-4084-A821-0DCC1536D9DF}" dt="2019-11-24T11:32:05.605" v="8653" actId="2696"/>
        <pc:sldMkLst>
          <pc:docMk/>
          <pc:sldMk cId="3541063482" sldId="2076137169"/>
        </pc:sldMkLst>
      </pc:sldChg>
      <pc:sldChg chg="modTransition">
        <pc:chgData name="Jack Tracey" userId="98dee47e-7932-4ede-ad91-867e883fbe46" providerId="ADAL" clId="{090785AB-5754-4084-A821-0DCC1536D9DF}" dt="2019-11-24T15:25:37.321" v="8871"/>
        <pc:sldMkLst>
          <pc:docMk/>
          <pc:sldMk cId="2199867076" sldId="2076137174"/>
        </pc:sldMkLst>
      </pc:sldChg>
      <pc:sldChg chg="delSp modTransition delAnim">
        <pc:chgData name="Jack Tracey" userId="98dee47e-7932-4ede-ad91-867e883fbe46" providerId="ADAL" clId="{090785AB-5754-4084-A821-0DCC1536D9DF}" dt="2019-11-24T15:25:37.321" v="8871"/>
        <pc:sldMkLst>
          <pc:docMk/>
          <pc:sldMk cId="94740157" sldId="2076137175"/>
        </pc:sldMkLst>
        <pc:spChg chg="del">
          <ac:chgData name="Jack Tracey" userId="98dee47e-7932-4ede-ad91-867e883fbe46" providerId="ADAL" clId="{090785AB-5754-4084-A821-0DCC1536D9DF}" dt="2019-11-24T11:33:34.070" v="8654" actId="478"/>
          <ac:spMkLst>
            <pc:docMk/>
            <pc:sldMk cId="94740157" sldId="2076137175"/>
            <ac:spMk id="81" creationId="{A0F7072B-1026-4AD5-82DB-0ED0AC67852A}"/>
          </ac:spMkLst>
        </pc:spChg>
      </pc:sldChg>
      <pc:sldChg chg="modTransition">
        <pc:chgData name="Jack Tracey" userId="98dee47e-7932-4ede-ad91-867e883fbe46" providerId="ADAL" clId="{090785AB-5754-4084-A821-0DCC1536D9DF}" dt="2019-11-24T15:25:37.321" v="8871"/>
        <pc:sldMkLst>
          <pc:docMk/>
          <pc:sldMk cId="4054559228" sldId="2076137177"/>
        </pc:sldMkLst>
      </pc:sldChg>
      <pc:sldChg chg="modTransition">
        <pc:chgData name="Jack Tracey" userId="98dee47e-7932-4ede-ad91-867e883fbe46" providerId="ADAL" clId="{090785AB-5754-4084-A821-0DCC1536D9DF}" dt="2019-11-24T15:25:37.321" v="8871"/>
        <pc:sldMkLst>
          <pc:docMk/>
          <pc:sldMk cId="885360272" sldId="2076137185"/>
        </pc:sldMkLst>
      </pc:sldChg>
      <pc:sldChg chg="addSp delSp modSp modTransition">
        <pc:chgData name="Jack Tracey" userId="98dee47e-7932-4ede-ad91-867e883fbe46" providerId="ADAL" clId="{090785AB-5754-4084-A821-0DCC1536D9DF}" dt="2019-11-24T15:25:37.321" v="8871"/>
        <pc:sldMkLst>
          <pc:docMk/>
          <pc:sldMk cId="362652571" sldId="2076137188"/>
        </pc:sldMkLst>
        <pc:spChg chg="mod">
          <ac:chgData name="Jack Tracey" userId="98dee47e-7932-4ede-ad91-867e883fbe46" providerId="ADAL" clId="{090785AB-5754-4084-A821-0DCC1536D9DF}" dt="2019-11-24T11:27:52.986" v="8652" actId="1076"/>
          <ac:spMkLst>
            <pc:docMk/>
            <pc:sldMk cId="362652571" sldId="2076137188"/>
            <ac:spMk id="2" creationId="{7FF577D4-48B6-430B-B086-B0CDF2CB479F}"/>
          </ac:spMkLst>
        </pc:spChg>
        <pc:spChg chg="del">
          <ac:chgData name="Jack Tracey" userId="98dee47e-7932-4ede-ad91-867e883fbe46" providerId="ADAL" clId="{090785AB-5754-4084-A821-0DCC1536D9DF}" dt="2019-11-24T11:26:42.991" v="8573" actId="478"/>
          <ac:spMkLst>
            <pc:docMk/>
            <pc:sldMk cId="362652571" sldId="2076137188"/>
            <ac:spMk id="3" creationId="{E1354A55-5181-7A45-80B1-27494580788C}"/>
          </ac:spMkLst>
        </pc:spChg>
        <pc:spChg chg="add del mod">
          <ac:chgData name="Jack Tracey" userId="98dee47e-7932-4ede-ad91-867e883fbe46" providerId="ADAL" clId="{090785AB-5754-4084-A821-0DCC1536D9DF}" dt="2019-11-24T11:26:38.011" v="8572" actId="478"/>
          <ac:spMkLst>
            <pc:docMk/>
            <pc:sldMk cId="362652571" sldId="2076137188"/>
            <ac:spMk id="8" creationId="{9941DA17-F211-45CB-A393-E4FAAE3370BF}"/>
          </ac:spMkLst>
        </pc:spChg>
        <pc:spChg chg="del">
          <ac:chgData name="Jack Tracey" userId="98dee47e-7932-4ede-ad91-867e883fbe46" providerId="ADAL" clId="{090785AB-5754-4084-A821-0DCC1536D9DF}" dt="2019-11-24T11:26:35.255" v="8571" actId="478"/>
          <ac:spMkLst>
            <pc:docMk/>
            <pc:sldMk cId="362652571" sldId="2076137188"/>
            <ac:spMk id="84" creationId="{D69E895C-9800-7D41-8E0A-84CA98C0444E}"/>
          </ac:spMkLst>
        </pc:spChg>
        <pc:spChg chg="add mod">
          <ac:chgData name="Jack Tracey" userId="98dee47e-7932-4ede-ad91-867e883fbe46" providerId="ADAL" clId="{090785AB-5754-4084-A821-0DCC1536D9DF}" dt="2019-11-24T11:27:26.887" v="8649" actId="14100"/>
          <ac:spMkLst>
            <pc:docMk/>
            <pc:sldMk cId="362652571" sldId="2076137188"/>
            <ac:spMk id="348" creationId="{1BA78165-E8E6-4AA9-B6B6-792477AD77E7}"/>
          </ac:spMkLst>
        </pc:spChg>
        <pc:spChg chg="add mod">
          <ac:chgData name="Jack Tracey" userId="98dee47e-7932-4ede-ad91-867e883fbe46" providerId="ADAL" clId="{090785AB-5754-4084-A821-0DCC1536D9DF}" dt="2019-11-24T11:27:22.459" v="8648" actId="20577"/>
          <ac:spMkLst>
            <pc:docMk/>
            <pc:sldMk cId="362652571" sldId="2076137188"/>
            <ac:spMk id="349" creationId="{4E877AE0-96FD-48F6-8387-4309302D517E}"/>
          </ac:spMkLst>
        </pc:spChg>
        <pc:grpChg chg="mod">
          <ac:chgData name="Jack Tracey" userId="98dee47e-7932-4ede-ad91-867e883fbe46" providerId="ADAL" clId="{090785AB-5754-4084-A821-0DCC1536D9DF}" dt="2019-11-24T11:27:42.091" v="8651" actId="14100"/>
          <ac:grpSpMkLst>
            <pc:docMk/>
            <pc:sldMk cId="362652571" sldId="2076137188"/>
            <ac:grpSpMk id="6" creationId="{8669CD24-865D-4ED9-9731-A7ABBE6678E1}"/>
          </ac:grpSpMkLst>
        </pc:grpChg>
        <pc:grpChg chg="mod">
          <ac:chgData name="Jack Tracey" userId="98dee47e-7932-4ede-ad91-867e883fbe46" providerId="ADAL" clId="{090785AB-5754-4084-A821-0DCC1536D9DF}" dt="2019-11-24T11:27:42.091" v="8651" actId="14100"/>
          <ac:grpSpMkLst>
            <pc:docMk/>
            <pc:sldMk cId="362652571" sldId="2076137188"/>
            <ac:grpSpMk id="10" creationId="{49F3B578-A508-410D-BF2C-1365BFF39079}"/>
          </ac:grpSpMkLst>
        </pc:grpChg>
        <pc:grpChg chg="mod">
          <ac:chgData name="Jack Tracey" userId="98dee47e-7932-4ede-ad91-867e883fbe46" providerId="ADAL" clId="{090785AB-5754-4084-A821-0DCC1536D9DF}" dt="2019-11-24T11:27:42.091" v="8651" actId="14100"/>
          <ac:grpSpMkLst>
            <pc:docMk/>
            <pc:sldMk cId="362652571" sldId="2076137188"/>
            <ac:grpSpMk id="19" creationId="{36917C94-B841-43D5-98F0-4792A0EDCB2F}"/>
          </ac:grpSpMkLst>
        </pc:grpChg>
        <pc:grpChg chg="mod">
          <ac:chgData name="Jack Tracey" userId="98dee47e-7932-4ede-ad91-867e883fbe46" providerId="ADAL" clId="{090785AB-5754-4084-A821-0DCC1536D9DF}" dt="2019-11-24T11:27:42.091" v="8651" actId="14100"/>
          <ac:grpSpMkLst>
            <pc:docMk/>
            <pc:sldMk cId="362652571" sldId="2076137188"/>
            <ac:grpSpMk id="121" creationId="{AB61606C-21B9-4AD2-991B-AAAB6598FC56}"/>
          </ac:grpSpMkLst>
        </pc:grpChg>
        <pc:grpChg chg="mod">
          <ac:chgData name="Jack Tracey" userId="98dee47e-7932-4ede-ad91-867e883fbe46" providerId="ADAL" clId="{090785AB-5754-4084-A821-0DCC1536D9DF}" dt="2019-11-24T11:27:42.091" v="8651" actId="14100"/>
          <ac:grpSpMkLst>
            <pc:docMk/>
            <pc:sldMk cId="362652571" sldId="2076137188"/>
            <ac:grpSpMk id="139" creationId="{175B0131-45D1-451B-9070-2CB5925E6E12}"/>
          </ac:grpSpMkLst>
        </pc:grpChg>
        <pc:grpChg chg="mod">
          <ac:chgData name="Jack Tracey" userId="98dee47e-7932-4ede-ad91-867e883fbe46" providerId="ADAL" clId="{090785AB-5754-4084-A821-0DCC1536D9DF}" dt="2019-11-24T11:27:42.091" v="8651" actId="14100"/>
          <ac:grpSpMkLst>
            <pc:docMk/>
            <pc:sldMk cId="362652571" sldId="2076137188"/>
            <ac:grpSpMk id="188" creationId="{04ED02BD-427E-4F86-8177-F62E272AC279}"/>
          </ac:grpSpMkLst>
        </pc:grpChg>
        <pc:grpChg chg="mod">
          <ac:chgData name="Jack Tracey" userId="98dee47e-7932-4ede-ad91-867e883fbe46" providerId="ADAL" clId="{090785AB-5754-4084-A821-0DCC1536D9DF}" dt="2019-11-24T11:27:42.091" v="8651" actId="14100"/>
          <ac:grpSpMkLst>
            <pc:docMk/>
            <pc:sldMk cId="362652571" sldId="2076137188"/>
            <ac:grpSpMk id="191" creationId="{64A4E075-AA81-43E1-B830-5B36BE6EDFF3}"/>
          </ac:grpSpMkLst>
        </pc:grpChg>
        <pc:grpChg chg="mod">
          <ac:chgData name="Jack Tracey" userId="98dee47e-7932-4ede-ad91-867e883fbe46" providerId="ADAL" clId="{090785AB-5754-4084-A821-0DCC1536D9DF}" dt="2019-11-24T11:27:42.091" v="8651" actId="14100"/>
          <ac:grpSpMkLst>
            <pc:docMk/>
            <pc:sldMk cId="362652571" sldId="2076137188"/>
            <ac:grpSpMk id="221" creationId="{DB7A96E3-004F-4982-BC48-077B7962C6D1}"/>
          </ac:grpSpMkLst>
        </pc:grpChg>
        <pc:grpChg chg="mod">
          <ac:chgData name="Jack Tracey" userId="98dee47e-7932-4ede-ad91-867e883fbe46" providerId="ADAL" clId="{090785AB-5754-4084-A821-0DCC1536D9DF}" dt="2019-11-24T11:27:42.091" v="8651" actId="14100"/>
          <ac:grpSpMkLst>
            <pc:docMk/>
            <pc:sldMk cId="362652571" sldId="2076137188"/>
            <ac:grpSpMk id="231" creationId="{EE921A6A-A716-4077-9CEC-22CDB6245800}"/>
          </ac:grpSpMkLst>
        </pc:grpChg>
        <pc:grpChg chg="mod">
          <ac:chgData name="Jack Tracey" userId="98dee47e-7932-4ede-ad91-867e883fbe46" providerId="ADAL" clId="{090785AB-5754-4084-A821-0DCC1536D9DF}" dt="2019-11-24T11:27:42.091" v="8651" actId="14100"/>
          <ac:grpSpMkLst>
            <pc:docMk/>
            <pc:sldMk cId="362652571" sldId="2076137188"/>
            <ac:grpSpMk id="232" creationId="{A92A503D-8569-4159-AA15-E2AAAD8C0BAC}"/>
          </ac:grpSpMkLst>
        </pc:grpChg>
        <pc:grpChg chg="mod">
          <ac:chgData name="Jack Tracey" userId="98dee47e-7932-4ede-ad91-867e883fbe46" providerId="ADAL" clId="{090785AB-5754-4084-A821-0DCC1536D9DF}" dt="2019-11-24T11:27:42.091" v="8651" actId="14100"/>
          <ac:grpSpMkLst>
            <pc:docMk/>
            <pc:sldMk cId="362652571" sldId="2076137188"/>
            <ac:grpSpMk id="233" creationId="{3C388AB7-0EF7-4DCD-8BFA-2CA4CF926B19}"/>
          </ac:grpSpMkLst>
        </pc:grpChg>
        <pc:grpChg chg="mod">
          <ac:chgData name="Jack Tracey" userId="98dee47e-7932-4ede-ad91-867e883fbe46" providerId="ADAL" clId="{090785AB-5754-4084-A821-0DCC1536D9DF}" dt="2019-11-24T11:27:42.091" v="8651" actId="14100"/>
          <ac:grpSpMkLst>
            <pc:docMk/>
            <pc:sldMk cId="362652571" sldId="2076137188"/>
            <ac:grpSpMk id="251" creationId="{F463B5F4-6155-4950-BA1B-FFA9A372C843}"/>
          </ac:grpSpMkLst>
        </pc:grpChg>
        <pc:grpChg chg="mod">
          <ac:chgData name="Jack Tracey" userId="98dee47e-7932-4ede-ad91-867e883fbe46" providerId="ADAL" clId="{090785AB-5754-4084-A821-0DCC1536D9DF}" dt="2019-11-24T11:27:42.091" v="8651" actId="14100"/>
          <ac:grpSpMkLst>
            <pc:docMk/>
            <pc:sldMk cId="362652571" sldId="2076137188"/>
            <ac:grpSpMk id="267" creationId="{9CC1F5A4-C5E3-4FB0-B155-11C8242D3787}"/>
          </ac:grpSpMkLst>
        </pc:grpChg>
        <pc:grpChg chg="mod">
          <ac:chgData name="Jack Tracey" userId="98dee47e-7932-4ede-ad91-867e883fbe46" providerId="ADAL" clId="{090785AB-5754-4084-A821-0DCC1536D9DF}" dt="2019-11-24T11:27:42.091" v="8651" actId="14100"/>
          <ac:grpSpMkLst>
            <pc:docMk/>
            <pc:sldMk cId="362652571" sldId="2076137188"/>
            <ac:grpSpMk id="270" creationId="{90E9845B-62FB-434D-AB56-BE9BB2FBD63B}"/>
          </ac:grpSpMkLst>
        </pc:grpChg>
        <pc:grpChg chg="mod">
          <ac:chgData name="Jack Tracey" userId="98dee47e-7932-4ede-ad91-867e883fbe46" providerId="ADAL" clId="{090785AB-5754-4084-A821-0DCC1536D9DF}" dt="2019-11-24T11:27:42.091" v="8651" actId="14100"/>
          <ac:grpSpMkLst>
            <pc:docMk/>
            <pc:sldMk cId="362652571" sldId="2076137188"/>
            <ac:grpSpMk id="271" creationId="{6BD830A5-C1B2-4896-B295-B71F0C6BC87D}"/>
          </ac:grpSpMkLst>
        </pc:grpChg>
        <pc:grpChg chg="mod">
          <ac:chgData name="Jack Tracey" userId="98dee47e-7932-4ede-ad91-867e883fbe46" providerId="ADAL" clId="{090785AB-5754-4084-A821-0DCC1536D9DF}" dt="2019-11-24T11:27:42.091" v="8651" actId="14100"/>
          <ac:grpSpMkLst>
            <pc:docMk/>
            <pc:sldMk cId="362652571" sldId="2076137188"/>
            <ac:grpSpMk id="272" creationId="{414452DD-635B-4519-8EA2-DD102320BD58}"/>
          </ac:grpSpMkLst>
        </pc:grpChg>
        <pc:grpChg chg="mod">
          <ac:chgData name="Jack Tracey" userId="98dee47e-7932-4ede-ad91-867e883fbe46" providerId="ADAL" clId="{090785AB-5754-4084-A821-0DCC1536D9DF}" dt="2019-11-24T11:27:42.091" v="8651" actId="14100"/>
          <ac:grpSpMkLst>
            <pc:docMk/>
            <pc:sldMk cId="362652571" sldId="2076137188"/>
            <ac:grpSpMk id="290" creationId="{73656C3F-757F-4277-93C9-74AF16288793}"/>
          </ac:grpSpMkLst>
        </pc:grpChg>
        <pc:grpChg chg="mod">
          <ac:chgData name="Jack Tracey" userId="98dee47e-7932-4ede-ad91-867e883fbe46" providerId="ADAL" clId="{090785AB-5754-4084-A821-0DCC1536D9DF}" dt="2019-11-24T11:27:42.091" v="8651" actId="14100"/>
          <ac:grpSpMkLst>
            <pc:docMk/>
            <pc:sldMk cId="362652571" sldId="2076137188"/>
            <ac:grpSpMk id="306" creationId="{FB85E2CF-1CFE-49B6-BD78-B2363620DBBD}"/>
          </ac:grpSpMkLst>
        </pc:grpChg>
        <pc:grpChg chg="mod">
          <ac:chgData name="Jack Tracey" userId="98dee47e-7932-4ede-ad91-867e883fbe46" providerId="ADAL" clId="{090785AB-5754-4084-A821-0DCC1536D9DF}" dt="2019-11-24T11:27:42.091" v="8651" actId="14100"/>
          <ac:grpSpMkLst>
            <pc:docMk/>
            <pc:sldMk cId="362652571" sldId="2076137188"/>
            <ac:grpSpMk id="309" creationId="{1D3A407A-357F-43B7-AFA3-68E248463D32}"/>
          </ac:grpSpMkLst>
        </pc:grpChg>
        <pc:grpChg chg="mod">
          <ac:chgData name="Jack Tracey" userId="98dee47e-7932-4ede-ad91-867e883fbe46" providerId="ADAL" clId="{090785AB-5754-4084-A821-0DCC1536D9DF}" dt="2019-11-24T11:27:42.091" v="8651" actId="14100"/>
          <ac:grpSpMkLst>
            <pc:docMk/>
            <pc:sldMk cId="362652571" sldId="2076137188"/>
            <ac:grpSpMk id="310" creationId="{320DB6F7-3A70-454B-868D-FFA8DD2FC0CC}"/>
          </ac:grpSpMkLst>
        </pc:grpChg>
        <pc:grpChg chg="mod">
          <ac:chgData name="Jack Tracey" userId="98dee47e-7932-4ede-ad91-867e883fbe46" providerId="ADAL" clId="{090785AB-5754-4084-A821-0DCC1536D9DF}" dt="2019-11-24T11:27:42.091" v="8651" actId="14100"/>
          <ac:grpSpMkLst>
            <pc:docMk/>
            <pc:sldMk cId="362652571" sldId="2076137188"/>
            <ac:grpSpMk id="311" creationId="{CBA5A295-E3B3-499A-ABC3-06D24E194C6C}"/>
          </ac:grpSpMkLst>
        </pc:grpChg>
        <pc:grpChg chg="mod">
          <ac:chgData name="Jack Tracey" userId="98dee47e-7932-4ede-ad91-867e883fbe46" providerId="ADAL" clId="{090785AB-5754-4084-A821-0DCC1536D9DF}" dt="2019-11-24T11:27:42.091" v="8651" actId="14100"/>
          <ac:grpSpMkLst>
            <pc:docMk/>
            <pc:sldMk cId="362652571" sldId="2076137188"/>
            <ac:grpSpMk id="329" creationId="{E9EDF220-CA03-4B4A-961A-AD024E2062E2}"/>
          </ac:grpSpMkLst>
        </pc:grpChg>
        <pc:grpChg chg="mod">
          <ac:chgData name="Jack Tracey" userId="98dee47e-7932-4ede-ad91-867e883fbe46" providerId="ADAL" clId="{090785AB-5754-4084-A821-0DCC1536D9DF}" dt="2019-11-24T11:27:42.091" v="8651" actId="14100"/>
          <ac:grpSpMkLst>
            <pc:docMk/>
            <pc:sldMk cId="362652571" sldId="2076137188"/>
            <ac:grpSpMk id="345" creationId="{C2D3E3F9-9A58-4FF6-909D-E9043F506CE9}"/>
          </ac:grpSpMkLst>
        </pc:grpChg>
        <pc:grpChg chg="mod">
          <ac:chgData name="Jack Tracey" userId="98dee47e-7932-4ede-ad91-867e883fbe46" providerId="ADAL" clId="{090785AB-5754-4084-A821-0DCC1536D9DF}" dt="2019-11-24T11:27:42.091" v="8651" actId="14100"/>
          <ac:grpSpMkLst>
            <pc:docMk/>
            <pc:sldMk cId="362652571" sldId="2076137188"/>
            <ac:grpSpMk id="533" creationId="{C5FD449C-EACF-486F-8E18-28D9EED6E426}"/>
          </ac:grpSpMkLst>
        </pc:grpChg>
        <pc:grpChg chg="mod">
          <ac:chgData name="Jack Tracey" userId="98dee47e-7932-4ede-ad91-867e883fbe46" providerId="ADAL" clId="{090785AB-5754-4084-A821-0DCC1536D9DF}" dt="2019-11-24T11:27:42.091" v="8651" actId="14100"/>
          <ac:grpSpMkLst>
            <pc:docMk/>
            <pc:sldMk cId="362652571" sldId="2076137188"/>
            <ac:grpSpMk id="534" creationId="{08C6EC63-8D69-434B-AD68-8C1D6AA496DE}"/>
          </ac:grpSpMkLst>
        </pc:grpChg>
        <pc:grpChg chg="mod">
          <ac:chgData name="Jack Tracey" userId="98dee47e-7932-4ede-ad91-867e883fbe46" providerId="ADAL" clId="{090785AB-5754-4084-A821-0DCC1536D9DF}" dt="2019-11-24T11:27:42.091" v="8651" actId="14100"/>
          <ac:grpSpMkLst>
            <pc:docMk/>
            <pc:sldMk cId="362652571" sldId="2076137188"/>
            <ac:grpSpMk id="543" creationId="{4D1AD427-AD27-4FA8-A848-823CFC1539A2}"/>
          </ac:grpSpMkLst>
        </pc:grpChg>
        <pc:picChg chg="add">
          <ac:chgData name="Jack Tracey" userId="98dee47e-7932-4ede-ad91-867e883fbe46" providerId="ADAL" clId="{090785AB-5754-4084-A821-0DCC1536D9DF}" dt="2019-11-24T11:26:51.636" v="8574"/>
          <ac:picMkLst>
            <pc:docMk/>
            <pc:sldMk cId="362652571" sldId="2076137188"/>
            <ac:picMk id="350" creationId="{218EA297-02EA-4E8F-9BAB-AA0C50D6A92B}"/>
          </ac:picMkLst>
        </pc:picChg>
        <pc:picChg chg="mod">
          <ac:chgData name="Jack Tracey" userId="98dee47e-7932-4ede-ad91-867e883fbe46" providerId="ADAL" clId="{090785AB-5754-4084-A821-0DCC1536D9DF}" dt="2019-11-24T11:27:03.836" v="8622" actId="1076"/>
          <ac:picMkLst>
            <pc:docMk/>
            <pc:sldMk cId="362652571" sldId="2076137188"/>
            <ac:picMk id="363" creationId="{0FFD7875-AD4F-4343-9D2C-C9373CFB2FE1}"/>
          </ac:picMkLst>
        </pc:picChg>
      </pc:sldChg>
      <pc:sldChg chg="addSp delSp modSp del modTransition">
        <pc:chgData name="Jack Tracey" userId="98dee47e-7932-4ede-ad91-867e883fbe46" providerId="ADAL" clId="{090785AB-5754-4084-A821-0DCC1536D9DF}" dt="2019-11-24T15:25:37.321" v="8871"/>
        <pc:sldMkLst>
          <pc:docMk/>
          <pc:sldMk cId="857362003" sldId="2076137194"/>
        </pc:sldMkLst>
        <pc:spChg chg="add del mod">
          <ac:chgData name="Jack Tracey" userId="98dee47e-7932-4ede-ad91-867e883fbe46" providerId="ADAL" clId="{090785AB-5754-4084-A821-0DCC1536D9DF}" dt="2019-11-24T11:18:23.224" v="8423" actId="478"/>
          <ac:spMkLst>
            <pc:docMk/>
            <pc:sldMk cId="857362003" sldId="2076137194"/>
            <ac:spMk id="4" creationId="{6C0AECD9-7330-4726-840C-7485C7E83DDE}"/>
          </ac:spMkLst>
        </pc:spChg>
        <pc:spChg chg="add">
          <ac:chgData name="Jack Tracey" userId="98dee47e-7932-4ede-ad91-867e883fbe46" providerId="ADAL" clId="{090785AB-5754-4084-A821-0DCC1536D9DF}" dt="2019-11-24T11:18:29.481" v="8424"/>
          <ac:spMkLst>
            <pc:docMk/>
            <pc:sldMk cId="857362003" sldId="2076137194"/>
            <ac:spMk id="10" creationId="{69C9F4A5-35D5-4E83-9E60-6A2645A98804}"/>
          </ac:spMkLst>
        </pc:spChg>
        <pc:spChg chg="add mod">
          <ac:chgData name="Jack Tracey" userId="98dee47e-7932-4ede-ad91-867e883fbe46" providerId="ADAL" clId="{090785AB-5754-4084-A821-0DCC1536D9DF}" dt="2019-11-24T11:18:43.879" v="8459" actId="20577"/>
          <ac:spMkLst>
            <pc:docMk/>
            <pc:sldMk cId="857362003" sldId="2076137194"/>
            <ac:spMk id="11" creationId="{B411AD86-BCFD-493E-9233-FFC547359FA1}"/>
          </ac:spMkLst>
        </pc:spChg>
        <pc:spChg chg="del">
          <ac:chgData name="Jack Tracey" userId="98dee47e-7932-4ede-ad91-867e883fbe46" providerId="ADAL" clId="{090785AB-5754-4084-A821-0DCC1536D9DF}" dt="2019-11-24T11:18:21.006" v="8422" actId="478"/>
          <ac:spMkLst>
            <pc:docMk/>
            <pc:sldMk cId="857362003" sldId="2076137194"/>
            <ac:spMk id="17" creationId="{00000000-0000-0000-0000-000000000000}"/>
          </ac:spMkLst>
        </pc:spChg>
        <pc:picChg chg="mod">
          <ac:chgData name="Jack Tracey" userId="98dee47e-7932-4ede-ad91-867e883fbe46" providerId="ADAL" clId="{090785AB-5754-4084-A821-0DCC1536D9DF}" dt="2019-11-24T11:18:54.592" v="8461" actId="1076"/>
          <ac:picMkLst>
            <pc:docMk/>
            <pc:sldMk cId="857362003" sldId="2076137194"/>
            <ac:picMk id="8" creationId="{27E54A48-956D-4895-A362-EA0232F64BFE}"/>
          </ac:picMkLst>
        </pc:picChg>
        <pc:picChg chg="add">
          <ac:chgData name="Jack Tracey" userId="98dee47e-7932-4ede-ad91-867e883fbe46" providerId="ADAL" clId="{090785AB-5754-4084-A821-0DCC1536D9DF}" dt="2019-11-24T11:18:29.481" v="8424"/>
          <ac:picMkLst>
            <pc:docMk/>
            <pc:sldMk cId="857362003" sldId="2076137194"/>
            <ac:picMk id="12" creationId="{542320B1-2185-4812-959E-CEBE909AEFD3}"/>
          </ac:picMkLst>
        </pc:picChg>
      </pc:sldChg>
      <pc:sldChg chg="addSp delSp modSp modTransition">
        <pc:chgData name="Jack Tracey" userId="98dee47e-7932-4ede-ad91-867e883fbe46" providerId="ADAL" clId="{090785AB-5754-4084-A821-0DCC1536D9DF}" dt="2019-11-24T15:25:37.321" v="8871"/>
        <pc:sldMkLst>
          <pc:docMk/>
          <pc:sldMk cId="1926253801" sldId="2076137195"/>
        </pc:sldMkLst>
        <pc:spChg chg="del">
          <ac:chgData name="Jack Tracey" userId="98dee47e-7932-4ede-ad91-867e883fbe46" providerId="ADAL" clId="{090785AB-5754-4084-A821-0DCC1536D9DF}" dt="2019-11-24T11:19:47.353" v="8462" actId="478"/>
          <ac:spMkLst>
            <pc:docMk/>
            <pc:sldMk cId="1926253801" sldId="2076137195"/>
            <ac:spMk id="2" creationId="{00000000-0000-0000-0000-000000000000}"/>
          </ac:spMkLst>
        </pc:spChg>
        <pc:spChg chg="del mod">
          <ac:chgData name="Jack Tracey" userId="98dee47e-7932-4ede-ad91-867e883fbe46" providerId="ADAL" clId="{090785AB-5754-4084-A821-0DCC1536D9DF}" dt="2019-11-24T11:20:14.953" v="8503" actId="478"/>
          <ac:spMkLst>
            <pc:docMk/>
            <pc:sldMk cId="1926253801" sldId="2076137195"/>
            <ac:spMk id="4" creationId="{E1D55EC6-A9D0-47D7-B55B-81AB9AF46CB1}"/>
          </ac:spMkLst>
        </pc:spChg>
        <pc:spChg chg="add del mod">
          <ac:chgData name="Jack Tracey" userId="98dee47e-7932-4ede-ad91-867e883fbe46" providerId="ADAL" clId="{090785AB-5754-4084-A821-0DCC1536D9DF}" dt="2019-11-24T11:19:50.360" v="8463" actId="478"/>
          <ac:spMkLst>
            <pc:docMk/>
            <pc:sldMk cId="1926253801" sldId="2076137195"/>
            <ac:spMk id="7" creationId="{E40FC595-FBBD-4866-A3A7-247C7B396939}"/>
          </ac:spMkLst>
        </pc:spChg>
        <pc:spChg chg="add del mod">
          <ac:chgData name="Jack Tracey" userId="98dee47e-7932-4ede-ad91-867e883fbe46" providerId="ADAL" clId="{090785AB-5754-4084-A821-0DCC1536D9DF}" dt="2019-11-24T11:20:23.419" v="8507" actId="478"/>
          <ac:spMkLst>
            <pc:docMk/>
            <pc:sldMk cId="1926253801" sldId="2076137195"/>
            <ac:spMk id="9" creationId="{DD13262F-DF6A-4E61-85E6-363C5095803A}"/>
          </ac:spMkLst>
        </pc:spChg>
        <pc:spChg chg="add mod">
          <ac:chgData name="Jack Tracey" userId="98dee47e-7932-4ede-ad91-867e883fbe46" providerId="ADAL" clId="{090785AB-5754-4084-A821-0DCC1536D9DF}" dt="2019-11-24T11:20:21.626" v="8506" actId="14100"/>
          <ac:spMkLst>
            <pc:docMk/>
            <pc:sldMk cId="1926253801" sldId="2076137195"/>
            <ac:spMk id="12" creationId="{3DA6E579-BC2E-4285-9572-6CA8C94C9385}"/>
          </ac:spMkLst>
        </pc:spChg>
        <pc:spChg chg="add mod">
          <ac:chgData name="Jack Tracey" userId="98dee47e-7932-4ede-ad91-867e883fbe46" providerId="ADAL" clId="{090785AB-5754-4084-A821-0DCC1536D9DF}" dt="2019-11-24T11:19:59.932" v="8501" actId="20577"/>
          <ac:spMkLst>
            <pc:docMk/>
            <pc:sldMk cId="1926253801" sldId="2076137195"/>
            <ac:spMk id="13" creationId="{009018FC-FD8B-4B8F-90AF-9FB712061375}"/>
          </ac:spMkLst>
        </pc:spChg>
        <pc:spChg chg="add mod">
          <ac:chgData name="Jack Tracey" userId="98dee47e-7932-4ede-ad91-867e883fbe46" providerId="ADAL" clId="{090785AB-5754-4084-A821-0DCC1536D9DF}" dt="2019-11-24T11:20:30.716" v="8509" actId="1076"/>
          <ac:spMkLst>
            <pc:docMk/>
            <pc:sldMk cId="1926253801" sldId="2076137195"/>
            <ac:spMk id="18" creationId="{FE4F3139-B2EC-4966-84DB-22694EFB82EC}"/>
          </ac:spMkLst>
        </pc:spChg>
        <pc:picChg chg="add">
          <ac:chgData name="Jack Tracey" userId="98dee47e-7932-4ede-ad91-867e883fbe46" providerId="ADAL" clId="{090785AB-5754-4084-A821-0DCC1536D9DF}" dt="2019-11-24T11:19:50.942" v="8464"/>
          <ac:picMkLst>
            <pc:docMk/>
            <pc:sldMk cId="1926253801" sldId="2076137195"/>
            <ac:picMk id="17" creationId="{32E2CF79-31AA-4050-B02E-74C5FF23B585}"/>
          </ac:picMkLst>
        </pc:picChg>
      </pc:sldChg>
      <pc:sldChg chg="delSp del modTransition delAnim">
        <pc:chgData name="Jack Tracey" userId="98dee47e-7932-4ede-ad91-867e883fbe46" providerId="ADAL" clId="{090785AB-5754-4084-A821-0DCC1536D9DF}" dt="2019-11-24T15:25:37.321" v="8871"/>
        <pc:sldMkLst>
          <pc:docMk/>
          <pc:sldMk cId="1142796422" sldId="2076137203"/>
        </pc:sldMkLst>
        <pc:spChg chg="del">
          <ac:chgData name="Jack Tracey" userId="98dee47e-7932-4ede-ad91-867e883fbe46" providerId="ADAL" clId="{090785AB-5754-4084-A821-0DCC1536D9DF}" dt="2019-11-24T11:16:53.005" v="8418" actId="478"/>
          <ac:spMkLst>
            <pc:docMk/>
            <pc:sldMk cId="1142796422" sldId="2076137203"/>
            <ac:spMk id="51" creationId="{FD069A5D-32DC-4135-91FE-906A2F393BF4}"/>
          </ac:spMkLst>
        </pc:spChg>
        <pc:spChg chg="del">
          <ac:chgData name="Jack Tracey" userId="98dee47e-7932-4ede-ad91-867e883fbe46" providerId="ADAL" clId="{090785AB-5754-4084-A821-0DCC1536D9DF}" dt="2019-11-24T11:17:01.286" v="8419" actId="478"/>
          <ac:spMkLst>
            <pc:docMk/>
            <pc:sldMk cId="1142796422" sldId="2076137203"/>
            <ac:spMk id="135" creationId="{E862B726-E2C1-4F3B-A70C-1FBC0E2F39EA}"/>
          </ac:spMkLst>
        </pc:spChg>
      </pc:sldChg>
      <pc:sldChg chg="modTransition">
        <pc:chgData name="Jack Tracey" userId="98dee47e-7932-4ede-ad91-867e883fbe46" providerId="ADAL" clId="{090785AB-5754-4084-A821-0DCC1536D9DF}" dt="2019-11-24T15:25:37.321" v="8871"/>
        <pc:sldMkLst>
          <pc:docMk/>
          <pc:sldMk cId="3986760024" sldId="2076137207"/>
        </pc:sldMkLst>
      </pc:sldChg>
      <pc:sldChg chg="addSp delSp modSp add del modTransition delAnim">
        <pc:chgData name="Jack Tracey" userId="98dee47e-7932-4ede-ad91-867e883fbe46" providerId="ADAL" clId="{090785AB-5754-4084-A821-0DCC1536D9DF}" dt="2019-11-24T15:25:37.321" v="8871"/>
        <pc:sldMkLst>
          <pc:docMk/>
          <pc:sldMk cId="3027521582" sldId="2076137255"/>
        </pc:sldMkLst>
        <pc:spChg chg="del">
          <ac:chgData name="Jack Tracey" userId="98dee47e-7932-4ede-ad91-867e883fbe46" providerId="ADAL" clId="{090785AB-5754-4084-A821-0DCC1536D9DF}" dt="2019-11-23T16:04:51.280" v="7171" actId="478"/>
          <ac:spMkLst>
            <pc:docMk/>
            <pc:sldMk cId="3027521582" sldId="2076137255"/>
            <ac:spMk id="13" creationId="{C76F4B36-709D-4281-8876-BC1E36B6E303}"/>
          </ac:spMkLst>
        </pc:spChg>
        <pc:spChg chg="add mod">
          <ac:chgData name="Jack Tracey" userId="98dee47e-7932-4ede-ad91-867e883fbe46" providerId="ADAL" clId="{090785AB-5754-4084-A821-0DCC1536D9DF}" dt="2019-11-23T16:05:15.257" v="7181" actId="14100"/>
          <ac:spMkLst>
            <pc:docMk/>
            <pc:sldMk cId="3027521582" sldId="2076137255"/>
            <ac:spMk id="103" creationId="{F2B0BED6-8623-4A18-912E-D52CBC7CFE8C}"/>
          </ac:spMkLst>
        </pc:spChg>
        <pc:spChg chg="add mod">
          <ac:chgData name="Jack Tracey" userId="98dee47e-7932-4ede-ad91-867e883fbe46" providerId="ADAL" clId="{090785AB-5754-4084-A821-0DCC1536D9DF}" dt="2019-11-23T16:05:10.514" v="7180" actId="20577"/>
          <ac:spMkLst>
            <pc:docMk/>
            <pc:sldMk cId="3027521582" sldId="2076137255"/>
            <ac:spMk id="110" creationId="{389CC175-F7BB-4317-AAA4-2D7B47B4443C}"/>
          </ac:spMkLst>
        </pc:spChg>
        <pc:picChg chg="add">
          <ac:chgData name="Jack Tracey" userId="98dee47e-7932-4ede-ad91-867e883fbe46" providerId="ADAL" clId="{090785AB-5754-4084-A821-0DCC1536D9DF}" dt="2019-11-23T16:05:54.661" v="7230"/>
          <ac:picMkLst>
            <pc:docMk/>
            <pc:sldMk cId="3027521582" sldId="2076137255"/>
            <ac:picMk id="111" creationId="{341AAEDB-AA98-461A-8761-F758B705EA31}"/>
          </ac:picMkLst>
        </pc:picChg>
      </pc:sldChg>
      <pc:sldChg chg="addSp delSp modSp modTransition delAnim">
        <pc:chgData name="Jack Tracey" userId="98dee47e-7932-4ede-ad91-867e883fbe46" providerId="ADAL" clId="{090785AB-5754-4084-A821-0DCC1536D9DF}" dt="2019-11-24T15:25:37.321" v="8871"/>
        <pc:sldMkLst>
          <pc:docMk/>
          <pc:sldMk cId="2834816348" sldId="2076137269"/>
        </pc:sldMkLst>
        <pc:spChg chg="add del">
          <ac:chgData name="Jack Tracey" userId="98dee47e-7932-4ede-ad91-867e883fbe46" providerId="ADAL" clId="{090785AB-5754-4084-A821-0DCC1536D9DF}" dt="2019-11-23T16:02:38.054" v="7133"/>
          <ac:spMkLst>
            <pc:docMk/>
            <pc:sldMk cId="2834816348" sldId="2076137269"/>
            <ac:spMk id="91" creationId="{EB9617F0-3FCD-4DCF-999D-2BFF0CC054AD}"/>
          </ac:spMkLst>
        </pc:spChg>
        <pc:spChg chg="add del">
          <ac:chgData name="Jack Tracey" userId="98dee47e-7932-4ede-ad91-867e883fbe46" providerId="ADAL" clId="{090785AB-5754-4084-A821-0DCC1536D9DF}" dt="2019-11-23T16:02:38.054" v="7133"/>
          <ac:spMkLst>
            <pc:docMk/>
            <pc:sldMk cId="2834816348" sldId="2076137269"/>
            <ac:spMk id="92" creationId="{A70320DA-314C-444B-BBF5-399D0D2215F5}"/>
          </ac:spMkLst>
        </pc:spChg>
        <pc:spChg chg="add mod">
          <ac:chgData name="Jack Tracey" userId="98dee47e-7932-4ede-ad91-867e883fbe46" providerId="ADAL" clId="{090785AB-5754-4084-A821-0DCC1536D9DF}" dt="2019-11-23T16:02:53.580" v="7167" actId="14100"/>
          <ac:spMkLst>
            <pc:docMk/>
            <pc:sldMk cId="2834816348" sldId="2076137269"/>
            <ac:spMk id="93" creationId="{BDAF883C-EF61-4A70-926F-C9ADF1D5C4AA}"/>
          </ac:spMkLst>
        </pc:spChg>
        <pc:spChg chg="add mod">
          <ac:chgData name="Jack Tracey" userId="98dee47e-7932-4ede-ad91-867e883fbe46" providerId="ADAL" clId="{090785AB-5754-4084-A821-0DCC1536D9DF}" dt="2019-11-23T16:02:48.129" v="7166" actId="20577"/>
          <ac:spMkLst>
            <pc:docMk/>
            <pc:sldMk cId="2834816348" sldId="2076137269"/>
            <ac:spMk id="94" creationId="{F6936851-6ECE-4B53-9A5F-1B62BD6F56A9}"/>
          </ac:spMkLst>
        </pc:spChg>
        <pc:spChg chg="del">
          <ac:chgData name="Jack Tracey" userId="98dee47e-7932-4ede-ad91-867e883fbe46" providerId="ADAL" clId="{090785AB-5754-4084-A821-0DCC1536D9DF}" dt="2019-11-23T16:02:29.140" v="7131" actId="478"/>
          <ac:spMkLst>
            <pc:docMk/>
            <pc:sldMk cId="2834816348" sldId="2076137269"/>
            <ac:spMk id="126" creationId="{A1E3A1EC-15BA-41F1-9E75-6B43BFCA8C81}"/>
          </ac:spMkLst>
        </pc:spChg>
      </pc:sldChg>
      <pc:sldChg chg="addSp delSp modSp add modTransition modAnim">
        <pc:chgData name="Jack Tracey" userId="98dee47e-7932-4ede-ad91-867e883fbe46" providerId="ADAL" clId="{090785AB-5754-4084-A821-0DCC1536D9DF}" dt="2019-11-24T15:25:37.321" v="8871"/>
        <pc:sldMkLst>
          <pc:docMk/>
          <pc:sldMk cId="887686035" sldId="2076137270"/>
        </pc:sldMkLst>
        <pc:spChg chg="mod">
          <ac:chgData name="Jack Tracey" userId="98dee47e-7932-4ede-ad91-867e883fbe46" providerId="ADAL" clId="{090785AB-5754-4084-A821-0DCC1536D9DF}" dt="2019-11-23T17:07:50.375" v="7890" actId="14100"/>
          <ac:spMkLst>
            <pc:docMk/>
            <pc:sldMk cId="887686035" sldId="2076137270"/>
            <ac:spMk id="16" creationId="{02452510-0CE0-4261-A4BC-E2FB6A3B3884}"/>
          </ac:spMkLst>
        </pc:spChg>
        <pc:spChg chg="mod">
          <ac:chgData name="Jack Tracey" userId="98dee47e-7932-4ede-ad91-867e883fbe46" providerId="ADAL" clId="{090785AB-5754-4084-A821-0DCC1536D9DF}" dt="2019-11-23T17:07:47.202" v="7889" actId="20577"/>
          <ac:spMkLst>
            <pc:docMk/>
            <pc:sldMk cId="887686035" sldId="2076137270"/>
            <ac:spMk id="17" creationId="{A9B7B19A-0A09-41EC-8F7F-82C4F93426C0}"/>
          </ac:spMkLst>
        </pc:spChg>
        <pc:spChg chg="del">
          <ac:chgData name="Jack Tracey" userId="98dee47e-7932-4ede-ad91-867e883fbe46" providerId="ADAL" clId="{090785AB-5754-4084-A821-0DCC1536D9DF}" dt="2019-11-23T17:07:28.322" v="7852" actId="478"/>
          <ac:spMkLst>
            <pc:docMk/>
            <pc:sldMk cId="887686035" sldId="2076137270"/>
            <ac:spMk id="24" creationId="{58F0DBF0-C59E-497E-AED3-CCDB9ADF47AC}"/>
          </ac:spMkLst>
        </pc:spChg>
        <pc:grpChg chg="del">
          <ac:chgData name="Jack Tracey" userId="98dee47e-7932-4ede-ad91-867e883fbe46" providerId="ADAL" clId="{090785AB-5754-4084-A821-0DCC1536D9DF}" dt="2019-11-23T17:07:28.322" v="7852" actId="478"/>
          <ac:grpSpMkLst>
            <pc:docMk/>
            <pc:sldMk cId="887686035" sldId="2076137270"/>
            <ac:grpSpMk id="4" creationId="{8038B6F9-84F6-476F-A756-954ED3674DBD}"/>
          </ac:grpSpMkLst>
        </pc:grpChg>
        <pc:grpChg chg="del">
          <ac:chgData name="Jack Tracey" userId="98dee47e-7932-4ede-ad91-867e883fbe46" providerId="ADAL" clId="{090785AB-5754-4084-A821-0DCC1536D9DF}" dt="2019-11-23T17:07:28.322" v="7852" actId="478"/>
          <ac:grpSpMkLst>
            <pc:docMk/>
            <pc:sldMk cId="887686035" sldId="2076137270"/>
            <ac:grpSpMk id="6" creationId="{E0C4800C-B3CB-4CE5-A849-C796ED2EC65F}"/>
          </ac:grpSpMkLst>
        </pc:grpChg>
        <pc:grpChg chg="del">
          <ac:chgData name="Jack Tracey" userId="98dee47e-7932-4ede-ad91-867e883fbe46" providerId="ADAL" clId="{090785AB-5754-4084-A821-0DCC1536D9DF}" dt="2019-11-23T17:07:28.322" v="7852" actId="478"/>
          <ac:grpSpMkLst>
            <pc:docMk/>
            <pc:sldMk cId="887686035" sldId="2076137270"/>
            <ac:grpSpMk id="7" creationId="{917A5D92-83EA-45F3-AA67-EE2F3B38B849}"/>
          </ac:grpSpMkLst>
        </pc:grpChg>
        <pc:picChg chg="add mod">
          <ac:chgData name="Jack Tracey" userId="98dee47e-7932-4ede-ad91-867e883fbe46" providerId="ADAL" clId="{090785AB-5754-4084-A821-0DCC1536D9DF}" dt="2019-11-23T17:08:10.617" v="7894" actId="1076"/>
          <ac:picMkLst>
            <pc:docMk/>
            <pc:sldMk cId="887686035" sldId="2076137270"/>
            <ac:picMk id="2" creationId="{88C276C4-6537-45B4-B392-47DC073E93DB}"/>
          </ac:picMkLst>
        </pc:picChg>
      </pc:sldChg>
      <pc:sldChg chg="add del">
        <pc:chgData name="Jack Tracey" userId="98dee47e-7932-4ede-ad91-867e883fbe46" providerId="ADAL" clId="{090785AB-5754-4084-A821-0DCC1536D9DF}" dt="2019-11-23T17:30:48.359" v="7929"/>
        <pc:sldMkLst>
          <pc:docMk/>
          <pc:sldMk cId="450318165" sldId="2076137271"/>
        </pc:sldMkLst>
      </pc:sldChg>
      <pc:sldChg chg="addSp delSp modSp add del addAnim delAnim modAnim">
        <pc:chgData name="Jack Tracey" userId="98dee47e-7932-4ede-ad91-867e883fbe46" providerId="ADAL" clId="{090785AB-5754-4084-A821-0DCC1536D9DF}" dt="2019-11-24T12:47:46.827" v="8789" actId="2696"/>
        <pc:sldMkLst>
          <pc:docMk/>
          <pc:sldMk cId="4053823081" sldId="2076137271"/>
        </pc:sldMkLst>
        <pc:spChg chg="add del">
          <ac:chgData name="Jack Tracey" userId="98dee47e-7932-4ede-ad91-867e883fbe46" providerId="ADAL" clId="{090785AB-5754-4084-A821-0DCC1536D9DF}" dt="2019-11-24T12:38:16.758" v="8779"/>
          <ac:spMkLst>
            <pc:docMk/>
            <pc:sldMk cId="4053823081" sldId="2076137271"/>
            <ac:spMk id="2" creationId="{BB7F1B3A-D6DA-49D5-B661-FD1A5C28485F}"/>
          </ac:spMkLst>
        </pc:spChg>
        <pc:spChg chg="mod">
          <ac:chgData name="Jack Tracey" userId="98dee47e-7932-4ede-ad91-867e883fbe46" providerId="ADAL" clId="{090785AB-5754-4084-A821-0DCC1536D9DF}" dt="2019-11-24T12:35:56.144" v="8774" actId="20577"/>
          <ac:spMkLst>
            <pc:docMk/>
            <pc:sldMk cId="4053823081" sldId="2076137271"/>
            <ac:spMk id="9" creationId="{2448901E-48B7-4417-BBB0-4E51F689A76D}"/>
          </ac:spMkLst>
        </pc:spChg>
        <pc:spChg chg="add del mod">
          <ac:chgData name="Jack Tracey" userId="98dee47e-7932-4ede-ad91-867e883fbe46" providerId="ADAL" clId="{090785AB-5754-4084-A821-0DCC1536D9DF}" dt="2019-11-24T12:38:44.146" v="8788" actId="1076"/>
          <ac:spMkLst>
            <pc:docMk/>
            <pc:sldMk cId="4053823081" sldId="2076137271"/>
            <ac:spMk id="10" creationId="{1B800DE3-CF57-4603-8854-4529CC0A5DD9}"/>
          </ac:spMkLst>
        </pc:spChg>
      </pc:sldChg>
      <pc:sldChg chg="modTransition">
        <pc:chgData name="Jack Tracey" userId="98dee47e-7932-4ede-ad91-867e883fbe46" providerId="ADAL" clId="{090785AB-5754-4084-A821-0DCC1536D9DF}" dt="2019-11-24T15:25:37.321" v="8871"/>
        <pc:sldMkLst>
          <pc:docMk/>
          <pc:sldMk cId="3860406033" sldId="2076137272"/>
        </pc:sldMkLst>
      </pc:sldChg>
      <pc:sldChg chg="addSp modSp add ord modTransition modAnim">
        <pc:chgData name="Jack Tracey" userId="98dee47e-7932-4ede-ad91-867e883fbe46" providerId="ADAL" clId="{090785AB-5754-4084-A821-0DCC1536D9DF}" dt="2019-11-24T15:25:37.321" v="8871"/>
        <pc:sldMkLst>
          <pc:docMk/>
          <pc:sldMk cId="3747981253" sldId="2076137273"/>
        </pc:sldMkLst>
        <pc:spChg chg="mod">
          <ac:chgData name="Jack Tracey" userId="98dee47e-7932-4ede-ad91-867e883fbe46" providerId="ADAL" clId="{090785AB-5754-4084-A821-0DCC1536D9DF}" dt="2019-11-24T12:51:53.239" v="8821" actId="20577"/>
          <ac:spMkLst>
            <pc:docMk/>
            <pc:sldMk cId="3747981253" sldId="2076137273"/>
            <ac:spMk id="9" creationId="{2448901E-48B7-4417-BBB0-4E51F689A76D}"/>
          </ac:spMkLst>
        </pc:spChg>
        <pc:spChg chg="mod">
          <ac:chgData name="Jack Tracey" userId="98dee47e-7932-4ede-ad91-867e883fbe46" providerId="ADAL" clId="{090785AB-5754-4084-A821-0DCC1536D9DF}" dt="2019-11-24T12:52:13.784" v="8860" actId="20577"/>
          <ac:spMkLst>
            <pc:docMk/>
            <pc:sldMk cId="3747981253" sldId="2076137273"/>
            <ac:spMk id="10" creationId="{1B800DE3-CF57-4603-8854-4529CC0A5DD9}"/>
          </ac:spMkLst>
        </pc:spChg>
        <pc:picChg chg="add mod">
          <ac:chgData name="Jack Tracey" userId="98dee47e-7932-4ede-ad91-867e883fbe46" providerId="ADAL" clId="{090785AB-5754-4084-A821-0DCC1536D9DF}" dt="2019-11-24T12:53:18.957" v="8864" actId="1076"/>
          <ac:picMkLst>
            <pc:docMk/>
            <pc:sldMk cId="3747981253" sldId="2076137273"/>
            <ac:picMk id="1026" creationId="{F27A29B1-4BF6-43D6-8DCA-E74C7C79376E}"/>
          </ac:picMkLst>
        </pc:picChg>
      </pc:sldChg>
    </pc:docChg>
  </pc:docChgLst>
  <pc:docChgLst>
    <pc:chgData name="Jack Tracey" userId="98dee47e-7932-4ede-ad91-867e883fbe46" providerId="ADAL" clId="{7C5CBF56-A24E-48A1-88C9-7D3A7AB2CF11}"/>
    <pc:docChg chg="undo redo custSel addSld delSld modSld sldOrd">
      <pc:chgData name="Jack Tracey" userId="98dee47e-7932-4ede-ad91-867e883fbe46" providerId="ADAL" clId="{7C5CBF56-A24E-48A1-88C9-7D3A7AB2CF11}" dt="2020-04-01T17:17:21.344" v="1217" actId="20577"/>
      <pc:docMkLst>
        <pc:docMk/>
      </pc:docMkLst>
      <pc:sldChg chg="addSp delSp modSp mod">
        <pc:chgData name="Jack Tracey" userId="98dee47e-7932-4ede-ad91-867e883fbe46" providerId="ADAL" clId="{7C5CBF56-A24E-48A1-88C9-7D3A7AB2CF11}" dt="2020-04-01T17:07:20.294" v="393" actId="14100"/>
        <pc:sldMkLst>
          <pc:docMk/>
          <pc:sldMk cId="2323985547" sldId="507"/>
        </pc:sldMkLst>
        <pc:spChg chg="mod">
          <ac:chgData name="Jack Tracey" userId="98dee47e-7932-4ede-ad91-867e883fbe46" providerId="ADAL" clId="{7C5CBF56-A24E-48A1-88C9-7D3A7AB2CF11}" dt="2020-04-01T17:02:23.242" v="387" actId="108"/>
          <ac:spMkLst>
            <pc:docMk/>
            <pc:sldMk cId="2323985547" sldId="507"/>
            <ac:spMk id="31" creationId="{89E4F5E5-661B-4968-86C4-527F2600534E}"/>
          </ac:spMkLst>
        </pc:spChg>
        <pc:picChg chg="add mod">
          <ac:chgData name="Jack Tracey" userId="98dee47e-7932-4ede-ad91-867e883fbe46" providerId="ADAL" clId="{7C5CBF56-A24E-48A1-88C9-7D3A7AB2CF11}" dt="2020-04-01T17:07:20.294" v="393" actId="14100"/>
          <ac:picMkLst>
            <pc:docMk/>
            <pc:sldMk cId="2323985547" sldId="507"/>
            <ac:picMk id="7" creationId="{05856AF5-C091-4AA2-B36F-0308DB814DEC}"/>
          </ac:picMkLst>
        </pc:picChg>
        <pc:picChg chg="del">
          <ac:chgData name="Jack Tracey" userId="98dee47e-7932-4ede-ad91-867e883fbe46" providerId="ADAL" clId="{7C5CBF56-A24E-48A1-88C9-7D3A7AB2CF11}" dt="2020-04-01T17:02:28.482" v="388" actId="478"/>
          <ac:picMkLst>
            <pc:docMk/>
            <pc:sldMk cId="2323985547" sldId="507"/>
            <ac:picMk id="2050" creationId="{65DE9B54-AF7A-4ABB-9553-4961D742EC21}"/>
          </ac:picMkLst>
        </pc:picChg>
      </pc:sldChg>
      <pc:sldChg chg="modSp mod">
        <pc:chgData name="Jack Tracey" userId="98dee47e-7932-4ede-ad91-867e883fbe46" providerId="ADAL" clId="{7C5CBF56-A24E-48A1-88C9-7D3A7AB2CF11}" dt="2020-04-01T16:56:00.346" v="18" actId="1076"/>
        <pc:sldMkLst>
          <pc:docMk/>
          <pc:sldMk cId="1620967048" sldId="539"/>
        </pc:sldMkLst>
        <pc:spChg chg="mod">
          <ac:chgData name="Jack Tracey" userId="98dee47e-7932-4ede-ad91-867e883fbe46" providerId="ADAL" clId="{7C5CBF56-A24E-48A1-88C9-7D3A7AB2CF11}" dt="2020-04-01T16:56:00.346" v="18" actId="1076"/>
          <ac:spMkLst>
            <pc:docMk/>
            <pc:sldMk cId="1620967048" sldId="539"/>
            <ac:spMk id="7" creationId="{3041B32A-7E40-4D4B-ACE4-D8C665F8B323}"/>
          </ac:spMkLst>
        </pc:spChg>
        <pc:spChg chg="mod">
          <ac:chgData name="Jack Tracey" userId="98dee47e-7932-4ede-ad91-867e883fbe46" providerId="ADAL" clId="{7C5CBF56-A24E-48A1-88C9-7D3A7AB2CF11}" dt="2020-04-01T16:55:51.882" v="17" actId="6549"/>
          <ac:spMkLst>
            <pc:docMk/>
            <pc:sldMk cId="1620967048" sldId="539"/>
            <ac:spMk id="10" creationId="{1B800DE3-CF57-4603-8854-4529CC0A5DD9}"/>
          </ac:spMkLst>
        </pc:spChg>
      </pc:sldChg>
      <pc:sldChg chg="modSp">
        <pc:chgData name="Jack Tracey" userId="98dee47e-7932-4ede-ad91-867e883fbe46" providerId="ADAL" clId="{7C5CBF56-A24E-48A1-88C9-7D3A7AB2CF11}" dt="2020-04-01T16:57:29.034" v="115" actId="20577"/>
        <pc:sldMkLst>
          <pc:docMk/>
          <pc:sldMk cId="3679143134" sldId="541"/>
        </pc:sldMkLst>
        <pc:spChg chg="mod">
          <ac:chgData name="Jack Tracey" userId="98dee47e-7932-4ede-ad91-867e883fbe46" providerId="ADAL" clId="{7C5CBF56-A24E-48A1-88C9-7D3A7AB2CF11}" dt="2020-04-01T16:57:29.034" v="115" actId="20577"/>
          <ac:spMkLst>
            <pc:docMk/>
            <pc:sldMk cId="3679143134" sldId="541"/>
            <ac:spMk id="10" creationId="{1B800DE3-CF57-4603-8854-4529CC0A5DD9}"/>
          </ac:spMkLst>
        </pc:spChg>
      </pc:sldChg>
      <pc:sldChg chg="delSp modSp mod delAnim">
        <pc:chgData name="Jack Tracey" userId="98dee47e-7932-4ede-ad91-867e883fbe46" providerId="ADAL" clId="{7C5CBF56-A24E-48A1-88C9-7D3A7AB2CF11}" dt="2020-04-01T17:07:34.353" v="394" actId="1076"/>
        <pc:sldMkLst>
          <pc:docMk/>
          <pc:sldMk cId="2714039227" sldId="543"/>
        </pc:sldMkLst>
        <pc:spChg chg="mod">
          <ac:chgData name="Jack Tracey" userId="98dee47e-7932-4ede-ad91-867e883fbe46" providerId="ADAL" clId="{7C5CBF56-A24E-48A1-88C9-7D3A7AB2CF11}" dt="2020-04-01T17:07:34.353" v="394" actId="1076"/>
          <ac:spMkLst>
            <pc:docMk/>
            <pc:sldMk cId="2714039227" sldId="543"/>
            <ac:spMk id="2" creationId="{39233361-26D1-4118-99CB-A5545E724B8F}"/>
          </ac:spMkLst>
        </pc:spChg>
        <pc:picChg chg="del">
          <ac:chgData name="Jack Tracey" userId="98dee47e-7932-4ede-ad91-867e883fbe46" providerId="ADAL" clId="{7C5CBF56-A24E-48A1-88C9-7D3A7AB2CF11}" dt="2020-04-01T16:57:53.134" v="158" actId="478"/>
          <ac:picMkLst>
            <pc:docMk/>
            <pc:sldMk cId="2714039227" sldId="543"/>
            <ac:picMk id="3" creationId="{52ED5EC1-37C7-41F6-8FB2-3AA3C4EC3A61}"/>
          </ac:picMkLst>
        </pc:picChg>
      </pc:sldChg>
      <pc:sldChg chg="modSp mod">
        <pc:chgData name="Jack Tracey" userId="98dee47e-7932-4ede-ad91-867e883fbe46" providerId="ADAL" clId="{7C5CBF56-A24E-48A1-88C9-7D3A7AB2CF11}" dt="2020-04-01T16:56:25.420" v="23" actId="114"/>
        <pc:sldMkLst>
          <pc:docMk/>
          <pc:sldMk cId="533326867" sldId="544"/>
        </pc:sldMkLst>
        <pc:spChg chg="mod">
          <ac:chgData name="Jack Tracey" userId="98dee47e-7932-4ede-ad91-867e883fbe46" providerId="ADAL" clId="{7C5CBF56-A24E-48A1-88C9-7D3A7AB2CF11}" dt="2020-04-01T16:56:25.420" v="23" actId="114"/>
          <ac:spMkLst>
            <pc:docMk/>
            <pc:sldMk cId="533326867" sldId="544"/>
            <ac:spMk id="10" creationId="{1B800DE3-CF57-4603-8854-4529CC0A5DD9}"/>
          </ac:spMkLst>
        </pc:spChg>
      </pc:sldChg>
      <pc:sldChg chg="del">
        <pc:chgData name="Jack Tracey" userId="98dee47e-7932-4ede-ad91-867e883fbe46" providerId="ADAL" clId="{7C5CBF56-A24E-48A1-88C9-7D3A7AB2CF11}" dt="2020-04-01T16:58:02.885" v="159" actId="47"/>
        <pc:sldMkLst>
          <pc:docMk/>
          <pc:sldMk cId="670043725" sldId="556"/>
        </pc:sldMkLst>
      </pc:sldChg>
      <pc:sldChg chg="addSp delSp modSp mod modAnim">
        <pc:chgData name="Jack Tracey" userId="98dee47e-7932-4ede-ad91-867e883fbe46" providerId="ADAL" clId="{7C5CBF56-A24E-48A1-88C9-7D3A7AB2CF11}" dt="2020-04-01T17:01:45.209" v="375" actId="1076"/>
        <pc:sldMkLst>
          <pc:docMk/>
          <pc:sldMk cId="2711889897" sldId="557"/>
        </pc:sldMkLst>
        <pc:spChg chg="mod">
          <ac:chgData name="Jack Tracey" userId="98dee47e-7932-4ede-ad91-867e883fbe46" providerId="ADAL" clId="{7C5CBF56-A24E-48A1-88C9-7D3A7AB2CF11}" dt="2020-04-01T17:01:18.944" v="370" actId="20577"/>
          <ac:spMkLst>
            <pc:docMk/>
            <pc:sldMk cId="2711889897" sldId="557"/>
            <ac:spMk id="10" creationId="{1B800DE3-CF57-4603-8854-4529CC0A5DD9}"/>
          </ac:spMkLst>
        </pc:spChg>
        <pc:picChg chg="add mod">
          <ac:chgData name="Jack Tracey" userId="98dee47e-7932-4ede-ad91-867e883fbe46" providerId="ADAL" clId="{7C5CBF56-A24E-48A1-88C9-7D3A7AB2CF11}" dt="2020-04-01T17:01:45.209" v="375" actId="1076"/>
          <ac:picMkLst>
            <pc:docMk/>
            <pc:sldMk cId="2711889897" sldId="557"/>
            <ac:picMk id="3" creationId="{E6C37EA0-9D47-4F7F-AD41-6B583555E056}"/>
          </ac:picMkLst>
        </pc:picChg>
        <pc:picChg chg="del">
          <ac:chgData name="Jack Tracey" userId="98dee47e-7932-4ede-ad91-867e883fbe46" providerId="ADAL" clId="{7C5CBF56-A24E-48A1-88C9-7D3A7AB2CF11}" dt="2020-04-01T17:01:20.992" v="371" actId="478"/>
          <ac:picMkLst>
            <pc:docMk/>
            <pc:sldMk cId="2711889897" sldId="557"/>
            <ac:picMk id="3074" creationId="{EEB40342-0BE4-44D7-9287-3D2AF6993F45}"/>
          </ac:picMkLst>
        </pc:picChg>
      </pc:sldChg>
      <pc:sldChg chg="new del">
        <pc:chgData name="Jack Tracey" userId="98dee47e-7932-4ede-ad91-867e883fbe46" providerId="ADAL" clId="{7C5CBF56-A24E-48A1-88C9-7D3A7AB2CF11}" dt="2020-04-01T17:07:43.777" v="396" actId="47"/>
        <pc:sldMkLst>
          <pc:docMk/>
          <pc:sldMk cId="762640522" sldId="558"/>
        </pc:sldMkLst>
      </pc:sldChg>
      <pc:sldChg chg="add del setBg">
        <pc:chgData name="Jack Tracey" userId="98dee47e-7932-4ede-ad91-867e883fbe46" providerId="ADAL" clId="{7C5CBF56-A24E-48A1-88C9-7D3A7AB2CF11}" dt="2020-04-01T17:07:50.074" v="398"/>
        <pc:sldMkLst>
          <pc:docMk/>
          <pc:sldMk cId="1261079893" sldId="558"/>
        </pc:sldMkLst>
      </pc:sldChg>
      <pc:sldChg chg="del">
        <pc:chgData name="Jack Tracey" userId="98dee47e-7932-4ede-ad91-867e883fbe46" providerId="ADAL" clId="{7C5CBF56-A24E-48A1-88C9-7D3A7AB2CF11}" dt="2020-04-01T16:56:56.658" v="24" actId="47"/>
        <pc:sldMkLst>
          <pc:docMk/>
          <pc:sldMk cId="2070427391" sldId="558"/>
        </pc:sldMkLst>
      </pc:sldChg>
      <pc:sldChg chg="modSp add mod modAnim">
        <pc:chgData name="Jack Tracey" userId="98dee47e-7932-4ede-ad91-867e883fbe46" providerId="ADAL" clId="{7C5CBF56-A24E-48A1-88C9-7D3A7AB2CF11}" dt="2020-04-01T17:10:23.966" v="533" actId="14100"/>
        <pc:sldMkLst>
          <pc:docMk/>
          <pc:sldMk cId="3761172027" sldId="558"/>
        </pc:sldMkLst>
        <pc:spChg chg="mod">
          <ac:chgData name="Jack Tracey" userId="98dee47e-7932-4ede-ad91-867e883fbe46" providerId="ADAL" clId="{7C5CBF56-A24E-48A1-88C9-7D3A7AB2CF11}" dt="2020-04-01T17:10:23.966" v="533" actId="14100"/>
          <ac:spMkLst>
            <pc:docMk/>
            <pc:sldMk cId="3761172027" sldId="558"/>
            <ac:spMk id="8" creationId="{022A2DF9-416C-4715-A4CE-B77A82E740E9}"/>
          </ac:spMkLst>
        </pc:spChg>
        <pc:spChg chg="mod">
          <ac:chgData name="Jack Tracey" userId="98dee47e-7932-4ede-ad91-867e883fbe46" providerId="ADAL" clId="{7C5CBF56-A24E-48A1-88C9-7D3A7AB2CF11}" dt="2020-04-01T17:09:17.630" v="428" actId="20577"/>
          <ac:spMkLst>
            <pc:docMk/>
            <pc:sldMk cId="3761172027" sldId="558"/>
            <ac:spMk id="9" creationId="{2448901E-48B7-4417-BBB0-4E51F689A76D}"/>
          </ac:spMkLst>
        </pc:spChg>
        <pc:spChg chg="mod">
          <ac:chgData name="Jack Tracey" userId="98dee47e-7932-4ede-ad91-867e883fbe46" providerId="ADAL" clId="{7C5CBF56-A24E-48A1-88C9-7D3A7AB2CF11}" dt="2020-04-01T17:10:08.794" v="532" actId="20577"/>
          <ac:spMkLst>
            <pc:docMk/>
            <pc:sldMk cId="3761172027" sldId="558"/>
            <ac:spMk id="10" creationId="{1B800DE3-CF57-4603-8854-4529CC0A5DD9}"/>
          </ac:spMkLst>
        </pc:spChg>
      </pc:sldChg>
      <pc:sldChg chg="modSp add mod modAnim">
        <pc:chgData name="Jack Tracey" userId="98dee47e-7932-4ede-ad91-867e883fbe46" providerId="ADAL" clId="{7C5CBF56-A24E-48A1-88C9-7D3A7AB2CF11}" dt="2020-04-01T17:16:59.247" v="1190" actId="20577"/>
        <pc:sldMkLst>
          <pc:docMk/>
          <pc:sldMk cId="3467035465" sldId="559"/>
        </pc:sldMkLst>
        <pc:spChg chg="mod">
          <ac:chgData name="Jack Tracey" userId="98dee47e-7932-4ede-ad91-867e883fbe46" providerId="ADAL" clId="{7C5CBF56-A24E-48A1-88C9-7D3A7AB2CF11}" dt="2020-04-01T17:10:53.094" v="545" actId="14100"/>
          <ac:spMkLst>
            <pc:docMk/>
            <pc:sldMk cId="3467035465" sldId="559"/>
            <ac:spMk id="8" creationId="{022A2DF9-416C-4715-A4CE-B77A82E740E9}"/>
          </ac:spMkLst>
        </pc:spChg>
        <pc:spChg chg="mod">
          <ac:chgData name="Jack Tracey" userId="98dee47e-7932-4ede-ad91-867e883fbe46" providerId="ADAL" clId="{7C5CBF56-A24E-48A1-88C9-7D3A7AB2CF11}" dt="2020-04-01T17:10:49.255" v="544" actId="20577"/>
          <ac:spMkLst>
            <pc:docMk/>
            <pc:sldMk cId="3467035465" sldId="559"/>
            <ac:spMk id="9" creationId="{2448901E-48B7-4417-BBB0-4E51F689A76D}"/>
          </ac:spMkLst>
        </pc:spChg>
        <pc:spChg chg="mod">
          <ac:chgData name="Jack Tracey" userId="98dee47e-7932-4ede-ad91-867e883fbe46" providerId="ADAL" clId="{7C5CBF56-A24E-48A1-88C9-7D3A7AB2CF11}" dt="2020-04-01T17:16:59.247" v="1190" actId="20577"/>
          <ac:spMkLst>
            <pc:docMk/>
            <pc:sldMk cId="3467035465" sldId="559"/>
            <ac:spMk id="10" creationId="{1B800DE3-CF57-4603-8854-4529CC0A5DD9}"/>
          </ac:spMkLst>
        </pc:spChg>
      </pc:sldChg>
      <pc:sldChg chg="modSp add mod ord modAnim">
        <pc:chgData name="Jack Tracey" userId="98dee47e-7932-4ede-ad91-867e883fbe46" providerId="ADAL" clId="{7C5CBF56-A24E-48A1-88C9-7D3A7AB2CF11}" dt="2020-04-01T17:17:14.843" v="1212" actId="20577"/>
        <pc:sldMkLst>
          <pc:docMk/>
          <pc:sldMk cId="2783307497" sldId="560"/>
        </pc:sldMkLst>
        <pc:spChg chg="mod">
          <ac:chgData name="Jack Tracey" userId="98dee47e-7932-4ede-ad91-867e883fbe46" providerId="ADAL" clId="{7C5CBF56-A24E-48A1-88C9-7D3A7AB2CF11}" dt="2020-04-01T17:11:33.749" v="625" actId="14100"/>
          <ac:spMkLst>
            <pc:docMk/>
            <pc:sldMk cId="2783307497" sldId="560"/>
            <ac:spMk id="8" creationId="{022A2DF9-416C-4715-A4CE-B77A82E740E9}"/>
          </ac:spMkLst>
        </pc:spChg>
        <pc:spChg chg="mod">
          <ac:chgData name="Jack Tracey" userId="98dee47e-7932-4ede-ad91-867e883fbe46" providerId="ADAL" clId="{7C5CBF56-A24E-48A1-88C9-7D3A7AB2CF11}" dt="2020-04-01T17:11:29.208" v="624" actId="20577"/>
          <ac:spMkLst>
            <pc:docMk/>
            <pc:sldMk cId="2783307497" sldId="560"/>
            <ac:spMk id="9" creationId="{2448901E-48B7-4417-BBB0-4E51F689A76D}"/>
          </ac:spMkLst>
        </pc:spChg>
        <pc:spChg chg="mod">
          <ac:chgData name="Jack Tracey" userId="98dee47e-7932-4ede-ad91-867e883fbe46" providerId="ADAL" clId="{7C5CBF56-A24E-48A1-88C9-7D3A7AB2CF11}" dt="2020-04-01T17:17:14.843" v="1212" actId="20577"/>
          <ac:spMkLst>
            <pc:docMk/>
            <pc:sldMk cId="2783307497" sldId="560"/>
            <ac:spMk id="10" creationId="{1B800DE3-CF57-4603-8854-4529CC0A5DD9}"/>
          </ac:spMkLst>
        </pc:spChg>
      </pc:sldChg>
      <pc:sldChg chg="modSp add mod modAnim">
        <pc:chgData name="Jack Tracey" userId="98dee47e-7932-4ede-ad91-867e883fbe46" providerId="ADAL" clId="{7C5CBF56-A24E-48A1-88C9-7D3A7AB2CF11}" dt="2020-04-01T17:17:21.344" v="1217" actId="20577"/>
        <pc:sldMkLst>
          <pc:docMk/>
          <pc:sldMk cId="1777497062" sldId="561"/>
        </pc:sldMkLst>
        <pc:spChg chg="mod">
          <ac:chgData name="Jack Tracey" userId="98dee47e-7932-4ede-ad91-867e883fbe46" providerId="ADAL" clId="{7C5CBF56-A24E-48A1-88C9-7D3A7AB2CF11}" dt="2020-04-01T17:15:31.105" v="952" actId="14100"/>
          <ac:spMkLst>
            <pc:docMk/>
            <pc:sldMk cId="1777497062" sldId="561"/>
            <ac:spMk id="8" creationId="{022A2DF9-416C-4715-A4CE-B77A82E740E9}"/>
          </ac:spMkLst>
        </pc:spChg>
        <pc:spChg chg="mod">
          <ac:chgData name="Jack Tracey" userId="98dee47e-7932-4ede-ad91-867e883fbe46" providerId="ADAL" clId="{7C5CBF56-A24E-48A1-88C9-7D3A7AB2CF11}" dt="2020-04-01T17:15:27.024" v="951" actId="20577"/>
          <ac:spMkLst>
            <pc:docMk/>
            <pc:sldMk cId="1777497062" sldId="561"/>
            <ac:spMk id="9" creationId="{2448901E-48B7-4417-BBB0-4E51F689A76D}"/>
          </ac:spMkLst>
        </pc:spChg>
        <pc:spChg chg="mod">
          <ac:chgData name="Jack Tracey" userId="98dee47e-7932-4ede-ad91-867e883fbe46" providerId="ADAL" clId="{7C5CBF56-A24E-48A1-88C9-7D3A7AB2CF11}" dt="2020-04-01T17:17:21.344" v="1217" actId="20577"/>
          <ac:spMkLst>
            <pc:docMk/>
            <pc:sldMk cId="1777497062" sldId="561"/>
            <ac:spMk id="10" creationId="{1B800DE3-CF57-4603-8854-4529CC0A5DD9}"/>
          </ac:spMkLst>
        </pc:spChg>
      </pc:sldChg>
      <pc:sldChg chg="modSp add mod modAnim">
        <pc:chgData name="Jack Tracey" userId="98dee47e-7932-4ede-ad91-867e883fbe46" providerId="ADAL" clId="{7C5CBF56-A24E-48A1-88C9-7D3A7AB2CF11}" dt="2020-04-01T17:14:45.173" v="909" actId="20577"/>
        <pc:sldMkLst>
          <pc:docMk/>
          <pc:sldMk cId="2677086433" sldId="562"/>
        </pc:sldMkLst>
        <pc:spChg chg="mod">
          <ac:chgData name="Jack Tracey" userId="98dee47e-7932-4ede-ad91-867e883fbe46" providerId="ADAL" clId="{7C5CBF56-A24E-48A1-88C9-7D3A7AB2CF11}" dt="2020-04-01T17:12:20.292" v="667" actId="14100"/>
          <ac:spMkLst>
            <pc:docMk/>
            <pc:sldMk cId="2677086433" sldId="562"/>
            <ac:spMk id="8" creationId="{022A2DF9-416C-4715-A4CE-B77A82E740E9}"/>
          </ac:spMkLst>
        </pc:spChg>
        <pc:spChg chg="mod">
          <ac:chgData name="Jack Tracey" userId="98dee47e-7932-4ede-ad91-867e883fbe46" providerId="ADAL" clId="{7C5CBF56-A24E-48A1-88C9-7D3A7AB2CF11}" dt="2020-04-01T17:12:16.537" v="666" actId="20577"/>
          <ac:spMkLst>
            <pc:docMk/>
            <pc:sldMk cId="2677086433" sldId="562"/>
            <ac:spMk id="9" creationId="{2448901E-48B7-4417-BBB0-4E51F689A76D}"/>
          </ac:spMkLst>
        </pc:spChg>
        <pc:spChg chg="mod">
          <ac:chgData name="Jack Tracey" userId="98dee47e-7932-4ede-ad91-867e883fbe46" providerId="ADAL" clId="{7C5CBF56-A24E-48A1-88C9-7D3A7AB2CF11}" dt="2020-04-01T17:14:45.173" v="909" actId="20577"/>
          <ac:spMkLst>
            <pc:docMk/>
            <pc:sldMk cId="2677086433" sldId="562"/>
            <ac:spMk id="10" creationId="{1B800DE3-CF57-4603-8854-4529CC0A5DD9}"/>
          </ac:spMkLst>
        </pc:spChg>
      </pc:sldChg>
    </pc:docChg>
  </pc:docChgLst>
  <pc:docChgLst>
    <pc:chgData name="Ryan Littlemore" userId="e455dac8-f9aa-4cf6-ad37-fb5765c604eb" providerId="ADAL" clId="{9C8E4F7F-C9A2-434C-94A1-8C852D7DF824}"/>
    <pc:docChg chg="modSld">
      <pc:chgData name="Ryan Littlemore" userId="e455dac8-f9aa-4cf6-ad37-fb5765c604eb" providerId="ADAL" clId="{9C8E4F7F-C9A2-434C-94A1-8C852D7DF824}" dt="2019-11-27T14:55:32.088" v="3" actId="20577"/>
      <pc:docMkLst>
        <pc:docMk/>
      </pc:docMkLst>
      <pc:sldChg chg="modSp mod">
        <pc:chgData name="Ryan Littlemore" userId="e455dac8-f9aa-4cf6-ad37-fb5765c604eb" providerId="ADAL" clId="{9C8E4F7F-C9A2-434C-94A1-8C852D7DF824}" dt="2019-11-27T14:55:32.088" v="3" actId="20577"/>
        <pc:sldMkLst>
          <pc:docMk/>
          <pc:sldMk cId="3747981253" sldId="2076137273"/>
        </pc:sldMkLst>
        <pc:spChg chg="mod">
          <ac:chgData name="Ryan Littlemore" userId="e455dac8-f9aa-4cf6-ad37-fb5765c604eb" providerId="ADAL" clId="{9C8E4F7F-C9A2-434C-94A1-8C852D7DF824}" dt="2019-11-27T14:55:32.088" v="3" actId="20577"/>
          <ac:spMkLst>
            <pc:docMk/>
            <pc:sldMk cId="3747981253" sldId="2076137273"/>
            <ac:spMk id="9" creationId="{2448901E-48B7-4417-BBB0-4E51F689A76D}"/>
          </ac:spMkLst>
        </pc:spChg>
      </pc:sldChg>
    </pc:docChg>
  </pc:docChgLst>
  <pc:docChgLst>
    <pc:chgData name="Ryan Littlemore" userId="e455dac8-f9aa-4cf6-ad37-fb5765c604eb" providerId="ADAL" clId="{61160DAA-6392-4F65-A93E-CFCFCBA98F98}"/>
    <pc:docChg chg="custSel addSld delSld modSld sldOrd modSection">
      <pc:chgData name="Ryan Littlemore" userId="e455dac8-f9aa-4cf6-ad37-fb5765c604eb" providerId="ADAL" clId="{61160DAA-6392-4F65-A93E-CFCFCBA98F98}" dt="2019-06-20T21:03:07.744" v="898" actId="20577"/>
      <pc:docMkLst>
        <pc:docMk/>
      </pc:docMkLst>
      <pc:sldChg chg="ord">
        <pc:chgData name="Ryan Littlemore" userId="e455dac8-f9aa-4cf6-ad37-fb5765c604eb" providerId="ADAL" clId="{61160DAA-6392-4F65-A93E-CFCFCBA98F98}" dt="2019-06-20T18:06:52.351" v="896"/>
        <pc:sldMkLst>
          <pc:docMk/>
          <pc:sldMk cId="440760351" sldId="258"/>
        </pc:sldMkLst>
      </pc:sldChg>
      <pc:sldChg chg="modSp ord">
        <pc:chgData name="Ryan Littlemore" userId="e455dac8-f9aa-4cf6-ad37-fb5765c604eb" providerId="ADAL" clId="{61160DAA-6392-4F65-A93E-CFCFCBA98F98}" dt="2019-06-20T18:05:54.804" v="884" actId="27636"/>
        <pc:sldMkLst>
          <pc:docMk/>
          <pc:sldMk cId="1826063434" sldId="260"/>
        </pc:sldMkLst>
        <pc:spChg chg="mod">
          <ac:chgData name="Ryan Littlemore" userId="e455dac8-f9aa-4cf6-ad37-fb5765c604eb" providerId="ADAL" clId="{61160DAA-6392-4F65-A93E-CFCFCBA98F98}" dt="2019-06-20T18:05:54.804" v="884" actId="27636"/>
          <ac:spMkLst>
            <pc:docMk/>
            <pc:sldMk cId="1826063434" sldId="260"/>
            <ac:spMk id="3" creationId="{FB77A8A2-BD64-4C21-977E-EAC2AC092B8D}"/>
          </ac:spMkLst>
        </pc:spChg>
      </pc:sldChg>
      <pc:sldChg chg="modSp">
        <pc:chgData name="Ryan Littlemore" userId="e455dac8-f9aa-4cf6-ad37-fb5765c604eb" providerId="ADAL" clId="{61160DAA-6392-4F65-A93E-CFCFCBA98F98}" dt="2019-06-20T13:07:51.434" v="855" actId="1038"/>
        <pc:sldMkLst>
          <pc:docMk/>
          <pc:sldMk cId="1620967048" sldId="539"/>
        </pc:sldMkLst>
        <pc:spChg chg="mod">
          <ac:chgData name="Ryan Littlemore" userId="e455dac8-f9aa-4cf6-ad37-fb5765c604eb" providerId="ADAL" clId="{61160DAA-6392-4F65-A93E-CFCFCBA98F98}" dt="2019-06-20T13:07:51.434" v="855" actId="1038"/>
          <ac:spMkLst>
            <pc:docMk/>
            <pc:sldMk cId="1620967048" sldId="539"/>
            <ac:spMk id="10" creationId="{1B800DE3-CF57-4603-8854-4529CC0A5DD9}"/>
          </ac:spMkLst>
        </pc:spChg>
      </pc:sldChg>
      <pc:sldChg chg="modSp modAnim">
        <pc:chgData name="Ryan Littlemore" userId="e455dac8-f9aa-4cf6-ad37-fb5765c604eb" providerId="ADAL" clId="{61160DAA-6392-4F65-A93E-CFCFCBA98F98}" dt="2019-06-20T18:06:16.176" v="892" actId="6549"/>
        <pc:sldMkLst>
          <pc:docMk/>
          <pc:sldMk cId="3679143134" sldId="541"/>
        </pc:sldMkLst>
        <pc:spChg chg="mod">
          <ac:chgData name="Ryan Littlemore" userId="e455dac8-f9aa-4cf6-ad37-fb5765c604eb" providerId="ADAL" clId="{61160DAA-6392-4F65-A93E-CFCFCBA98F98}" dt="2019-06-20T18:06:16.176" v="892" actId="6549"/>
          <ac:spMkLst>
            <pc:docMk/>
            <pc:sldMk cId="3679143134" sldId="541"/>
            <ac:spMk id="10" creationId="{1B800DE3-CF57-4603-8854-4529CC0A5DD9}"/>
          </ac:spMkLst>
        </pc:spChg>
      </pc:sldChg>
      <pc:sldChg chg="ord">
        <pc:chgData name="Ryan Littlemore" userId="e455dac8-f9aa-4cf6-ad37-fb5765c604eb" providerId="ADAL" clId="{61160DAA-6392-4F65-A93E-CFCFCBA98F98}" dt="2019-06-20T18:06:29.311" v="894"/>
        <pc:sldMkLst>
          <pc:docMk/>
          <pc:sldMk cId="3420653574" sldId="542"/>
        </pc:sldMkLst>
      </pc:sldChg>
      <pc:sldChg chg="ord">
        <pc:chgData name="Ryan Littlemore" userId="e455dac8-f9aa-4cf6-ad37-fb5765c604eb" providerId="ADAL" clId="{61160DAA-6392-4F65-A93E-CFCFCBA98F98}" dt="2019-06-20T18:06:23.682" v="893"/>
        <pc:sldMkLst>
          <pc:docMk/>
          <pc:sldMk cId="2714039227" sldId="543"/>
        </pc:sldMkLst>
      </pc:sldChg>
      <pc:sldChg chg="modSp add ord modAnim">
        <pc:chgData name="Ryan Littlemore" userId="e455dac8-f9aa-4cf6-ad37-fb5765c604eb" providerId="ADAL" clId="{61160DAA-6392-4F65-A93E-CFCFCBA98F98}" dt="2019-06-20T13:07:14.541" v="852"/>
        <pc:sldMkLst>
          <pc:docMk/>
          <pc:sldMk cId="533326867" sldId="544"/>
        </pc:sldMkLst>
        <pc:spChg chg="mod">
          <ac:chgData name="Ryan Littlemore" userId="e455dac8-f9aa-4cf6-ad37-fb5765c604eb" providerId="ADAL" clId="{61160DAA-6392-4F65-A93E-CFCFCBA98F98}" dt="2019-06-20T12:45:29.128" v="164" actId="14100"/>
          <ac:spMkLst>
            <pc:docMk/>
            <pc:sldMk cId="533326867" sldId="544"/>
            <ac:spMk id="8" creationId="{022A2DF9-416C-4715-A4CE-B77A82E740E9}"/>
          </ac:spMkLst>
        </pc:spChg>
        <pc:spChg chg="mod">
          <ac:chgData name="Ryan Littlemore" userId="e455dac8-f9aa-4cf6-ad37-fb5765c604eb" providerId="ADAL" clId="{61160DAA-6392-4F65-A93E-CFCFCBA98F98}" dt="2019-06-20T12:43:52.092" v="12" actId="20577"/>
          <ac:spMkLst>
            <pc:docMk/>
            <pc:sldMk cId="533326867" sldId="544"/>
            <ac:spMk id="9" creationId="{2448901E-48B7-4417-BBB0-4E51F689A76D}"/>
          </ac:spMkLst>
        </pc:spChg>
        <pc:spChg chg="mod">
          <ac:chgData name="Ryan Littlemore" userId="e455dac8-f9aa-4cf6-ad37-fb5765c604eb" providerId="ADAL" clId="{61160DAA-6392-4F65-A93E-CFCFCBA98F98}" dt="2019-06-20T12:45:23.896" v="163" actId="1076"/>
          <ac:spMkLst>
            <pc:docMk/>
            <pc:sldMk cId="533326867" sldId="544"/>
            <ac:spMk id="10" creationId="{1B800DE3-CF57-4603-8854-4529CC0A5DD9}"/>
          </ac:spMkLst>
        </pc:spChg>
      </pc:sldChg>
      <pc:sldChg chg="modSp add modAnim">
        <pc:chgData name="Ryan Littlemore" userId="e455dac8-f9aa-4cf6-ad37-fb5765c604eb" providerId="ADAL" clId="{61160DAA-6392-4F65-A93E-CFCFCBA98F98}" dt="2019-06-20T13:03:35.543" v="664" actId="1076"/>
        <pc:sldMkLst>
          <pc:docMk/>
          <pc:sldMk cId="1115611432" sldId="545"/>
        </pc:sldMkLst>
        <pc:spChg chg="mod">
          <ac:chgData name="Ryan Littlemore" userId="e455dac8-f9aa-4cf6-ad37-fb5765c604eb" providerId="ADAL" clId="{61160DAA-6392-4F65-A93E-CFCFCBA98F98}" dt="2019-06-20T12:49:13.247" v="190" actId="14100"/>
          <ac:spMkLst>
            <pc:docMk/>
            <pc:sldMk cId="1115611432" sldId="545"/>
            <ac:spMk id="8" creationId="{022A2DF9-416C-4715-A4CE-B77A82E740E9}"/>
          </ac:spMkLst>
        </pc:spChg>
        <pc:spChg chg="mod">
          <ac:chgData name="Ryan Littlemore" userId="e455dac8-f9aa-4cf6-ad37-fb5765c604eb" providerId="ADAL" clId="{61160DAA-6392-4F65-A93E-CFCFCBA98F98}" dt="2019-06-20T12:49:08.674" v="189"/>
          <ac:spMkLst>
            <pc:docMk/>
            <pc:sldMk cId="1115611432" sldId="545"/>
            <ac:spMk id="9" creationId="{2448901E-48B7-4417-BBB0-4E51F689A76D}"/>
          </ac:spMkLst>
        </pc:spChg>
        <pc:spChg chg="mod">
          <ac:chgData name="Ryan Littlemore" userId="e455dac8-f9aa-4cf6-ad37-fb5765c604eb" providerId="ADAL" clId="{61160DAA-6392-4F65-A93E-CFCFCBA98F98}" dt="2019-06-20T13:03:35.543" v="664" actId="1076"/>
          <ac:spMkLst>
            <pc:docMk/>
            <pc:sldMk cId="1115611432" sldId="545"/>
            <ac:spMk id="10" creationId="{1B800DE3-CF57-4603-8854-4529CC0A5DD9}"/>
          </ac:spMkLst>
        </pc:spChg>
      </pc:sldChg>
      <pc:sldChg chg="modSp add del">
        <pc:chgData name="Ryan Littlemore" userId="e455dac8-f9aa-4cf6-ad37-fb5765c604eb" providerId="ADAL" clId="{61160DAA-6392-4F65-A93E-CFCFCBA98F98}" dt="2019-06-20T13:04:38.580" v="673" actId="2696"/>
        <pc:sldMkLst>
          <pc:docMk/>
          <pc:sldMk cId="13583606" sldId="546"/>
        </pc:sldMkLst>
        <pc:spChg chg="mod">
          <ac:chgData name="Ryan Littlemore" userId="e455dac8-f9aa-4cf6-ad37-fb5765c604eb" providerId="ADAL" clId="{61160DAA-6392-4F65-A93E-CFCFCBA98F98}" dt="2019-06-20T13:04:32.952" v="672" actId="20577"/>
          <ac:spMkLst>
            <pc:docMk/>
            <pc:sldMk cId="13583606" sldId="546"/>
            <ac:spMk id="2" creationId="{39233361-26D1-4118-99CB-A5545E724B8F}"/>
          </ac:spMkLst>
        </pc:spChg>
      </pc:sldChg>
      <pc:sldChg chg="modSp add ord modAnim">
        <pc:chgData name="Ryan Littlemore" userId="e455dac8-f9aa-4cf6-ad37-fb5765c604eb" providerId="ADAL" clId="{61160DAA-6392-4F65-A93E-CFCFCBA98F98}" dt="2019-06-20T21:03:07.744" v="898" actId="20577"/>
        <pc:sldMkLst>
          <pc:docMk/>
          <pc:sldMk cId="2965548729" sldId="546"/>
        </pc:sldMkLst>
        <pc:spChg chg="mod">
          <ac:chgData name="Ryan Littlemore" userId="e455dac8-f9aa-4cf6-ad37-fb5765c604eb" providerId="ADAL" clId="{61160DAA-6392-4F65-A93E-CFCFCBA98F98}" dt="2019-06-20T13:04:53.346" v="685" actId="20577"/>
          <ac:spMkLst>
            <pc:docMk/>
            <pc:sldMk cId="2965548729" sldId="546"/>
            <ac:spMk id="9" creationId="{2448901E-48B7-4417-BBB0-4E51F689A76D}"/>
          </ac:spMkLst>
        </pc:spChg>
        <pc:spChg chg="mod">
          <ac:chgData name="Ryan Littlemore" userId="e455dac8-f9aa-4cf6-ad37-fb5765c604eb" providerId="ADAL" clId="{61160DAA-6392-4F65-A93E-CFCFCBA98F98}" dt="2019-06-20T21:03:07.744" v="898" actId="20577"/>
          <ac:spMkLst>
            <pc:docMk/>
            <pc:sldMk cId="2965548729" sldId="546"/>
            <ac:spMk id="10" creationId="{1B800DE3-CF57-4603-8854-4529CC0A5DD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EC2FD2-F6C5-DC45-9810-D79E400F0530}" type="datetimeFigureOut">
              <a:rPr lang="en-GB" smtClean="0"/>
              <a:t>10/04/2020</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E800893-4D49-A64D-9A55-4C9C545E8555}" type="slidenum">
              <a:rPr lang="en-GB" smtClean="0"/>
              <a:t>‹#›</a:t>
            </a:fld>
            <a:endParaRPr lang="en-GB"/>
          </a:p>
        </p:txBody>
      </p:sp>
    </p:spTree>
    <p:extLst>
      <p:ext uri="{BB962C8B-B14F-4D97-AF65-F5344CB8AC3E}">
        <p14:creationId xmlns:p14="http://schemas.microsoft.com/office/powerpoint/2010/main" val="510083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Shape 42"/>
          <p:cNvSpPr>
            <a:spLocks noGrp="1" noRot="1" noChangeAspect="1"/>
          </p:cNvSpPr>
          <p:nvPr>
            <p:ph type="sldImg"/>
          </p:nvPr>
        </p:nvSpPr>
        <p:spPr>
          <a:xfrm>
            <a:off x="1143000" y="685800"/>
            <a:ext cx="4572000" cy="3429000"/>
          </a:xfrm>
          <a:prstGeom prst="rect">
            <a:avLst/>
          </a:prstGeom>
        </p:spPr>
        <p:txBody>
          <a:bodyPr/>
          <a:lstStyle/>
          <a:p>
            <a:endParaRPr/>
          </a:p>
        </p:txBody>
      </p:sp>
      <p:sp>
        <p:nvSpPr>
          <p:cNvPr id="43" name="Shape 4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660846047"/>
      </p:ext>
    </p:extLst>
  </p:cSld>
  <p:clrMap bg1="lt1" tx1="dk1" bg2="lt2" tx2="dk2" accent1="accent1" accent2="accent2" accent3="accent3" accent4="accent4" accent5="accent5" accent6="accent6" hlink="hlink" folHlink="folHlink"/>
  <p:notesStyle>
    <a:lvl1pPr latinLnBrk="0">
      <a:defRPr>
        <a:latin typeface="+mj-lt"/>
        <a:ea typeface="+mj-ea"/>
        <a:cs typeface="+mj-cs"/>
        <a:sym typeface="Helvetica Neue"/>
      </a:defRPr>
    </a:lvl1pPr>
    <a:lvl2pPr indent="228600" latinLnBrk="0">
      <a:defRPr>
        <a:latin typeface="+mj-lt"/>
        <a:ea typeface="+mj-ea"/>
        <a:cs typeface="+mj-cs"/>
        <a:sym typeface="Helvetica Neue"/>
      </a:defRPr>
    </a:lvl2pPr>
    <a:lvl3pPr indent="457200" latinLnBrk="0">
      <a:defRPr>
        <a:latin typeface="+mj-lt"/>
        <a:ea typeface="+mj-ea"/>
        <a:cs typeface="+mj-cs"/>
        <a:sym typeface="Helvetica Neue"/>
      </a:defRPr>
    </a:lvl3pPr>
    <a:lvl4pPr indent="685800" latinLnBrk="0">
      <a:defRPr>
        <a:latin typeface="+mj-lt"/>
        <a:ea typeface="+mj-ea"/>
        <a:cs typeface="+mj-cs"/>
        <a:sym typeface="Helvetica Neue"/>
      </a:defRPr>
    </a:lvl4pPr>
    <a:lvl5pPr indent="914400" latinLnBrk="0">
      <a:defRPr>
        <a:latin typeface="+mj-lt"/>
        <a:ea typeface="+mj-ea"/>
        <a:cs typeface="+mj-cs"/>
        <a:sym typeface="Helvetica Neue"/>
      </a:defRPr>
    </a:lvl5pPr>
    <a:lvl6pPr indent="1143000" latinLnBrk="0">
      <a:defRPr>
        <a:latin typeface="+mj-lt"/>
        <a:ea typeface="+mj-ea"/>
        <a:cs typeface="+mj-cs"/>
        <a:sym typeface="Helvetica Neue"/>
      </a:defRPr>
    </a:lvl6pPr>
    <a:lvl7pPr indent="1371600" latinLnBrk="0">
      <a:defRPr>
        <a:latin typeface="+mj-lt"/>
        <a:ea typeface="+mj-ea"/>
        <a:cs typeface="+mj-cs"/>
        <a:sym typeface="Helvetica Neue"/>
      </a:defRPr>
    </a:lvl7pPr>
    <a:lvl8pPr indent="1600200" latinLnBrk="0">
      <a:defRPr>
        <a:latin typeface="+mj-lt"/>
        <a:ea typeface="+mj-ea"/>
        <a:cs typeface="+mj-cs"/>
        <a:sym typeface="Helvetica Neue"/>
      </a:defRPr>
    </a:lvl8pPr>
    <a:lvl9pPr indent="1828800" latinLnBrk="0">
      <a:defRPr>
        <a:latin typeface="+mj-lt"/>
        <a:ea typeface="+mj-ea"/>
        <a:cs typeface="+mj-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064113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762982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543732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4102784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545124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733598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933825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013363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2127311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01077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760498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654548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3858934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se are the certifications we have released to meet market need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ll our certifications prove that a person has the skills to help organizations maximize the capabilities of the cloud to achieve desired business outcomes.</a:t>
            </a:r>
          </a:p>
          <a:p>
            <a:r>
              <a:rPr lang="en-US" sz="1200" kern="1200">
                <a:solidFill>
                  <a:schemeClr val="tx1"/>
                </a:solidFill>
                <a:effectLst/>
                <a:latin typeface="+mn-lt"/>
                <a:ea typeface="+mn-ea"/>
                <a:cs typeface="+mn-cs"/>
              </a:rPr>
              <a:t>We update our certifications regularly to reflect the change of pace of business and technology. Our certifications remain technically accurate and relevant, with updates occurring every two months, and additional roles and specialties added as the market requir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o, how do you leverage all the resources available and set your team on a learning journey?</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52CB4D-8BDB-463C-8775-1A752EBD0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7927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1845475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Shape 669"/>
          <p:cNvSpPr>
            <a:spLocks noGrp="1" noRot="1" noChangeAspect="1"/>
          </p:cNvSpPr>
          <p:nvPr>
            <p:ph type="sldImg"/>
          </p:nvPr>
        </p:nvSpPr>
        <p:spPr>
          <a:xfrm>
            <a:off x="381000" y="685800"/>
            <a:ext cx="6096000" cy="3429000"/>
          </a:xfrm>
          <a:prstGeom prst="rect">
            <a:avLst/>
          </a:prstGeom>
        </p:spPr>
        <p:txBody>
          <a:bodyPr/>
          <a:lstStyle/>
          <a:p>
            <a:endParaRPr/>
          </a:p>
        </p:txBody>
      </p:sp>
      <p:sp>
        <p:nvSpPr>
          <p:cNvPr id="670" name="Shape 670"/>
          <p:cNvSpPr>
            <a:spLocks noGrp="1"/>
          </p:cNvSpPr>
          <p:nvPr>
            <p:ph type="body" sz="quarter" idx="1"/>
          </p:nvPr>
        </p:nvSpPr>
        <p:spPr>
          <a:prstGeom prst="rect">
            <a:avLst/>
          </a:prstGeom>
        </p:spPr>
        <p:txBody>
          <a:bodyPr/>
          <a:lstStyle/>
          <a:p>
            <a:pPr>
              <a:defRPr sz="1200" b="1">
                <a:latin typeface="+mn-lt"/>
                <a:ea typeface="+mn-ea"/>
                <a:cs typeface="+mn-cs"/>
                <a:sym typeface="Helvetica"/>
              </a:defRPr>
            </a:pPr>
            <a:endParaRPr sz="1100"/>
          </a:p>
        </p:txBody>
      </p:sp>
    </p:spTree>
    <p:extLst>
      <p:ext uri="{BB962C8B-B14F-4D97-AF65-F5344CB8AC3E}">
        <p14:creationId xmlns:p14="http://schemas.microsoft.com/office/powerpoint/2010/main" val="40252815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1.emf"/><Relationship Id="rId1" Type="http://schemas.openxmlformats.org/officeDocument/2006/relationships/slideMaster" Target="../slideMasters/slideMaster14.xml"/><Relationship Id="rId4" Type="http://schemas.openxmlformats.org/officeDocument/2006/relationships/image" Target="../media/image35.png"/></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38.jpe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38.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4.xml"/><Relationship Id="rId4" Type="http://schemas.openxmlformats.org/officeDocument/2006/relationships/image" Target="../media/image38.jpeg"/></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9.emf"/><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4.jpe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8.tiff"/><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6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a:defRPr sz="1800">
                <a:solidFill>
                  <a:srgbClr val="74C6C8"/>
                </a:solidFill>
                <a:latin typeface="Calibri"/>
                <a:ea typeface="Calibri"/>
                <a:cs typeface="Calibri"/>
                <a:sym typeface="Calibri"/>
              </a:defRPr>
            </a:pPr>
            <a:endParaRPr/>
          </a:p>
        </p:txBody>
      </p:sp>
      <p:pic>
        <p:nvPicPr>
          <p:cNvPr id="14" name="image00.png"/>
          <p:cNvPicPr>
            <a:picLocks noChangeAspect="1"/>
          </p:cNvPicPr>
          <p:nvPr userDrawn="1"/>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312432214"/>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1"/>
          </p:nvPr>
        </p:nvSpPr>
        <p:spPr>
          <a:xfrm>
            <a:off x="654050" y="945357"/>
            <a:ext cx="8032750" cy="364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449970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2609"/>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512961"/>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48960"/>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152521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p:nvSpPr>
        <p:spPr>
          <a:xfrm>
            <a:off x="3833360" y="4853986"/>
            <a:ext cx="1477280" cy="138499"/>
          </a:xfrm>
          <a:prstGeom prst="rect">
            <a:avLst/>
          </a:prstGeom>
          <a:noFill/>
        </p:spPr>
        <p:txBody>
          <a:bodyPr wrap="square" lIns="0" tIns="0" rIns="0" bIns="0" rtlCol="0" anchor="ctr">
            <a:spAutoFit/>
          </a:bodyPr>
          <a:lstStyle/>
          <a:p>
            <a:pPr algn="ctr"/>
            <a:r>
              <a:rPr lang="en-US" sz="9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0770586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175657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84157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420952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308670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75967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7286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7209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5447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97072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92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3337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08527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970135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40286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170992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656542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40605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00470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22555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33824" t="2340"/>
          <a:stretch/>
        </p:blipFill>
        <p:spPr>
          <a:xfrm flipH="1">
            <a:off x="8506132" y="-9525"/>
            <a:ext cx="637868" cy="1368876"/>
          </a:xfrm>
          <a:prstGeom prst="rect">
            <a:avLst/>
          </a:prstGeom>
        </p:spPr>
      </p:pic>
      <p:cxnSp>
        <p:nvCxnSpPr>
          <p:cNvPr id="6" name="Straight Connector 5"/>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19151" t="20677" r="12668" b="16420"/>
          <a:stretch/>
        </p:blipFill>
        <p:spPr>
          <a:xfrm rot="5400000">
            <a:off x="-515530" y="726702"/>
            <a:ext cx="1751804" cy="513026"/>
          </a:xfrm>
          <a:prstGeom prst="rect">
            <a:avLst/>
          </a:prstGeom>
        </p:spPr>
      </p:pic>
      <p:cxnSp>
        <p:nvCxnSpPr>
          <p:cNvPr id="9" name="Straight Connector 8"/>
          <p:cNvCxnSpPr>
            <a:endCxn id="12" idx="0"/>
          </p:cNvCxnSpPr>
          <p:nvPr userDrawn="1"/>
        </p:nvCxnSpPr>
        <p:spPr>
          <a:xfrm>
            <a:off x="532853" y="698409"/>
            <a:ext cx="7815159" cy="5482"/>
          </a:xfrm>
          <a:prstGeom prst="line">
            <a:avLst/>
          </a:prstGeom>
          <a:ln w="19050" cap="rnd">
            <a:solidFill>
              <a:schemeClr val="bg1">
                <a:lumMod val="65000"/>
              </a:schemeClr>
            </a:solidFill>
            <a:prstDash val="sysDot"/>
            <a:tailEnd type="none" w="sm" len="sm"/>
          </a:ln>
          <a:effectLst/>
        </p:spPr>
        <p:style>
          <a:lnRef idx="2">
            <a:schemeClr val="accent1"/>
          </a:lnRef>
          <a:fillRef idx="0">
            <a:schemeClr val="accent1"/>
          </a:fillRef>
          <a:effectRef idx="1">
            <a:schemeClr val="accent1"/>
          </a:effectRef>
          <a:fontRef idx="minor">
            <a:schemeClr val="tx1"/>
          </a:fontRef>
        </p:style>
      </p:cxnSp>
      <p:sp>
        <p:nvSpPr>
          <p:cNvPr id="10" name="Rectangle 9"/>
          <p:cNvSpPr/>
          <p:nvPr userDrawn="1"/>
        </p:nvSpPr>
        <p:spPr>
          <a:xfrm>
            <a:off x="7967607" y="4893113"/>
            <a:ext cx="1003801"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5  | </a:t>
            </a:r>
            <a:endParaRPr lang="en-US" sz="1800" kern="1200">
              <a:solidFill>
                <a:srgbClr val="4D4D4F"/>
              </a:solidFill>
              <a:ea typeface="+mn-ea"/>
              <a:cs typeface="+mn-cs"/>
            </a:endParaRPr>
          </a:p>
        </p:txBody>
      </p:sp>
      <p:sp>
        <p:nvSpPr>
          <p:cNvPr id="11" name="Freeform 10"/>
          <p:cNvSpPr/>
          <p:nvPr userDrawn="1"/>
        </p:nvSpPr>
        <p:spPr>
          <a:xfrm>
            <a:off x="-2856" y="315765"/>
            <a:ext cx="499960" cy="2795828"/>
          </a:xfrm>
          <a:custGeom>
            <a:avLst/>
            <a:gdLst>
              <a:gd name="connsiteX0" fmla="*/ 480225 w 480225"/>
              <a:gd name="connsiteY0" fmla="*/ 0 h 2723465"/>
              <a:gd name="connsiteX1" fmla="*/ 480225 w 480225"/>
              <a:gd name="connsiteY1" fmla="*/ 1480144 h 2723465"/>
              <a:gd name="connsiteX2" fmla="*/ 0 w 480225"/>
              <a:gd name="connsiteY2" fmla="*/ 2723465 h 2723465"/>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Lst>
            <a:ahLst/>
            <a:cxnLst>
              <a:cxn ang="0">
                <a:pos x="connsiteX0" y="connsiteY0"/>
              </a:cxn>
              <a:cxn ang="0">
                <a:pos x="connsiteX1" y="connsiteY1"/>
              </a:cxn>
            </a:cxnLst>
            <a:rect l="l" t="t" r="r" b="b"/>
            <a:pathLst>
              <a:path w="499960" h="2795828">
                <a:moveTo>
                  <a:pt x="499960" y="0"/>
                </a:moveTo>
                <a:cubicBezTo>
                  <a:pt x="484610" y="1609520"/>
                  <a:pt x="548201" y="1942826"/>
                  <a:pt x="0" y="2795828"/>
                </a:cubicBezTo>
              </a:path>
            </a:pathLst>
          </a:custGeom>
          <a:ln w="19050" cap="rnd">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
        <p:nvSpPr>
          <p:cNvPr id="12" name="Freeform 11"/>
          <p:cNvSpPr/>
          <p:nvPr userDrawn="1"/>
        </p:nvSpPr>
        <p:spPr>
          <a:xfrm>
            <a:off x="8348012" y="309187"/>
            <a:ext cx="236823" cy="394704"/>
          </a:xfrm>
          <a:custGeom>
            <a:avLst/>
            <a:gdLst>
              <a:gd name="connsiteX0" fmla="*/ 0 w 282871"/>
              <a:gd name="connsiteY0" fmla="*/ 434176 h 434176"/>
              <a:gd name="connsiteX1" fmla="*/ 0 w 282871"/>
              <a:gd name="connsiteY1" fmla="*/ 0 h 434176"/>
              <a:gd name="connsiteX2" fmla="*/ 282871 w 282871"/>
              <a:gd name="connsiteY2" fmla="*/ 0 h 434176"/>
            </a:gdLst>
            <a:ahLst/>
            <a:cxnLst>
              <a:cxn ang="0">
                <a:pos x="connsiteX0" y="connsiteY0"/>
              </a:cxn>
              <a:cxn ang="0">
                <a:pos x="connsiteX1" y="connsiteY1"/>
              </a:cxn>
              <a:cxn ang="0">
                <a:pos x="connsiteX2" y="connsiteY2"/>
              </a:cxn>
            </a:cxnLst>
            <a:rect l="l" t="t" r="r" b="b"/>
            <a:pathLst>
              <a:path w="282871" h="434176">
                <a:moveTo>
                  <a:pt x="0" y="434176"/>
                </a:moveTo>
                <a:lnTo>
                  <a:pt x="0" y="0"/>
                </a:lnTo>
                <a:lnTo>
                  <a:pt x="282871" y="0"/>
                </a:lnTo>
              </a:path>
            </a:pathLst>
          </a:custGeom>
          <a:ln w="19050" cap="rnd">
            <a:solidFill>
              <a:schemeClr val="bg1">
                <a:lumMod val="65000"/>
              </a:schemeClr>
            </a:solidFill>
            <a:prstDash val="sysDot"/>
            <a:tailEnd type="oval"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Tree>
    <p:extLst>
      <p:ext uri="{BB962C8B-B14F-4D97-AF65-F5344CB8AC3E}">
        <p14:creationId xmlns:p14="http://schemas.microsoft.com/office/powerpoint/2010/main" val="19524054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652846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68174963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37532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13457496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26193947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9592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121701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238337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5997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9238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5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defTabSz="457200" hangingPunct="1">
              <a:defRPr sz="1800">
                <a:solidFill>
                  <a:srgbClr val="74C6C8"/>
                </a:solidFill>
                <a:latin typeface="Calibri"/>
                <a:ea typeface="Calibri"/>
                <a:cs typeface="Calibri"/>
                <a:sym typeface="Calibri"/>
              </a:defRPr>
            </a:pPr>
            <a:endParaRPr sz="1800" kern="1200">
              <a:solidFill>
                <a:srgbClr val="74C6C8"/>
              </a:solidFill>
              <a:latin typeface="Calibri"/>
              <a:ea typeface="Calibri"/>
              <a:cs typeface="Calibri"/>
              <a:sym typeface="Calibri"/>
            </a:endParaRPr>
          </a:p>
        </p:txBody>
      </p:sp>
      <p:pic>
        <p:nvPicPr>
          <p:cNvPr id="14" name="image00.png"/>
          <p:cNvPicPr>
            <a:picLocks noChangeAspect="1"/>
          </p:cNvPicPr>
          <p:nvPr/>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7" name="Shape 17"/>
          <p:cNvSpPr>
            <a:spLocks noGrp="1"/>
          </p:cNvSpPr>
          <p:nvPr>
            <p:ph type="sldNum" sz="quarter" idx="2"/>
          </p:nvPr>
        </p:nvSpPr>
        <p:spPr>
          <a:xfrm>
            <a:off x="4419600" y="4608064"/>
            <a:ext cx="2133600" cy="318397"/>
          </a:xfrm>
          <a:prstGeom prst="rect">
            <a:avLst/>
          </a:prstGeom>
        </p:spPr>
        <p:txBody>
          <a:bodyPr lIns="91424" tIns="91424" rIns="91424" bIns="91424"/>
          <a:lstStyle>
            <a:lvl1pPr algn="r">
              <a:defRPr sz="1000" b="0">
                <a:solidFill>
                  <a:schemeClr val="accent2">
                    <a:lumOff val="21764"/>
                  </a:schemeClr>
                </a:solidFill>
                <a:latin typeface="Arial"/>
                <a:ea typeface="Arial"/>
                <a:cs typeface="Arial"/>
                <a:sym typeface="Arial"/>
              </a:defRPr>
            </a:lvl1pPr>
          </a:lstStyle>
          <a:p>
            <a:fld id="{86CB4B4D-7CA3-9044-876B-883B54F8677D}" type="slidenum">
              <a:rPr>
                <a:solidFill>
                  <a:srgbClr val="009483">
                    <a:lumOff val="21764"/>
                  </a:srgbClr>
                </a:solidFill>
              </a:rPr>
              <a:pPr/>
              <a:t>‹#›</a:t>
            </a:fld>
            <a:endParaRPr>
              <a:solidFill>
                <a:srgbClr val="009483">
                  <a:lumOff val="21764"/>
                </a:srgbClr>
              </a:solidFill>
            </a:endParaRPr>
          </a:p>
        </p:txBody>
      </p:sp>
    </p:spTree>
    <p:extLst>
      <p:ext uri="{BB962C8B-B14F-4D97-AF65-F5344CB8AC3E}">
        <p14:creationId xmlns:p14="http://schemas.microsoft.com/office/powerpoint/2010/main" val="68577524"/>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9676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81050620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396220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B3B5-D09B-42B4-8D50-F114089EEB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DA97A6-7597-41FA-9951-799A02D69452}"/>
              </a:ext>
            </a:extLst>
          </p:cNvPr>
          <p:cNvSpPr>
            <a:spLocks noGrp="1"/>
          </p:cNvSpPr>
          <p:nvPr>
            <p:ph sz="half" idx="1"/>
          </p:nvPr>
        </p:nvSpPr>
        <p:spPr>
          <a:xfrm>
            <a:off x="628650" y="1369219"/>
            <a:ext cx="388620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C363C8-2B6C-45A9-837B-BC1C7E3175CC}"/>
              </a:ext>
            </a:extLst>
          </p:cNvPr>
          <p:cNvSpPr>
            <a:spLocks noGrp="1"/>
          </p:cNvSpPr>
          <p:nvPr>
            <p:ph sz="half" idx="2"/>
          </p:nvPr>
        </p:nvSpPr>
        <p:spPr>
          <a:xfrm>
            <a:off x="4629150" y="1369219"/>
            <a:ext cx="388620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CC1330-FADF-4AA3-8EAA-87A49944F954}"/>
              </a:ext>
            </a:extLst>
          </p:cNvPr>
          <p:cNvSpPr>
            <a:spLocks noGrp="1"/>
          </p:cNvSpPr>
          <p:nvPr>
            <p:ph type="dt" sz="half" idx="10"/>
          </p:nvPr>
        </p:nvSpPr>
        <p:spPr/>
        <p:txBody>
          <a:bodyPr/>
          <a:lstStyle/>
          <a:p>
            <a:fld id="{13D6D748-4358-48AD-A1DF-0B1F025E91CF}" type="datetimeFigureOut">
              <a:rPr lang="en-US" smtClean="0"/>
              <a:t>4/10/2020</a:t>
            </a:fld>
            <a:endParaRPr lang="en-US"/>
          </a:p>
        </p:txBody>
      </p:sp>
      <p:sp>
        <p:nvSpPr>
          <p:cNvPr id="6" name="Footer Placeholder 5">
            <a:extLst>
              <a:ext uri="{FF2B5EF4-FFF2-40B4-BE49-F238E27FC236}">
                <a16:creationId xmlns:a16="http://schemas.microsoft.com/office/drawing/2014/main" id="{D39C15FD-3BEA-49AE-BD37-A020985A7D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2D97A7-B412-45CB-86F4-611973F2423F}"/>
              </a:ext>
            </a:extLst>
          </p:cNvPr>
          <p:cNvSpPr>
            <a:spLocks noGrp="1"/>
          </p:cNvSpPr>
          <p:nvPr>
            <p:ph type="sldNum" sz="quarter" idx="12"/>
          </p:nvPr>
        </p:nvSpPr>
        <p:spPr/>
        <p:txBody>
          <a:bodyPr/>
          <a:lstStyle/>
          <a:p>
            <a:fld id="{39BED474-10F5-4763-ADAC-5FE9BA7A4229}" type="slidenum">
              <a:rPr lang="en-US" smtClean="0"/>
              <a:t>‹#›</a:t>
            </a:fld>
            <a:endParaRPr lang="en-US"/>
          </a:p>
        </p:txBody>
      </p:sp>
    </p:spTree>
    <p:extLst>
      <p:ext uri="{BB962C8B-B14F-4D97-AF65-F5344CB8AC3E}">
        <p14:creationId xmlns:p14="http://schemas.microsoft.com/office/powerpoint/2010/main" val="155844527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F58BA-63A7-4F0E-9DB8-7DF5BE271B49}"/>
              </a:ext>
            </a:extLst>
          </p:cNvPr>
          <p:cNvSpPr>
            <a:spLocks noGrp="1"/>
          </p:cNvSpPr>
          <p:nvPr>
            <p:ph type="title"/>
          </p:nvPr>
        </p:nvSpPr>
        <p:spPr>
          <a:xfrm>
            <a:off x="629841" y="273844"/>
            <a:ext cx="7886700" cy="415498"/>
          </a:xfrm>
        </p:spPr>
        <p:txBody>
          <a:bodyPr/>
          <a:lstStyle/>
          <a:p>
            <a:r>
              <a:rPr lang="en-US"/>
              <a:t>Click to edit Master title style</a:t>
            </a:r>
          </a:p>
        </p:txBody>
      </p:sp>
      <p:sp>
        <p:nvSpPr>
          <p:cNvPr id="3" name="Text Placeholder 2">
            <a:extLst>
              <a:ext uri="{FF2B5EF4-FFF2-40B4-BE49-F238E27FC236}">
                <a16:creationId xmlns:a16="http://schemas.microsoft.com/office/drawing/2014/main" id="{3874AB7F-E8B2-49D7-880E-F3F739960F6A}"/>
              </a:ext>
            </a:extLst>
          </p:cNvPr>
          <p:cNvSpPr>
            <a:spLocks noGrp="1"/>
          </p:cNvSpPr>
          <p:nvPr>
            <p:ph type="body" idx="1"/>
          </p:nvPr>
        </p:nvSpPr>
        <p:spPr>
          <a:xfrm>
            <a:off x="629842" y="1601807"/>
            <a:ext cx="3868340"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046F644-1E1D-48BB-A00F-901A2127CB06}"/>
              </a:ext>
            </a:extLst>
          </p:cNvPr>
          <p:cNvSpPr>
            <a:spLocks noGrp="1"/>
          </p:cNvSpPr>
          <p:nvPr>
            <p:ph sz="half" idx="2"/>
          </p:nvPr>
        </p:nvSpPr>
        <p:spPr>
          <a:xfrm>
            <a:off x="629842" y="1878806"/>
            <a:ext cx="3868340"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BDAEFF-A2BC-4CCF-A4BD-E44D2884BE4B}"/>
              </a:ext>
            </a:extLst>
          </p:cNvPr>
          <p:cNvSpPr>
            <a:spLocks noGrp="1"/>
          </p:cNvSpPr>
          <p:nvPr>
            <p:ph type="body" sz="quarter" idx="3"/>
          </p:nvPr>
        </p:nvSpPr>
        <p:spPr>
          <a:xfrm>
            <a:off x="4629150" y="1601807"/>
            <a:ext cx="3887391"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6701179-DC50-42A0-B58C-C06732466260}"/>
              </a:ext>
            </a:extLst>
          </p:cNvPr>
          <p:cNvSpPr>
            <a:spLocks noGrp="1"/>
          </p:cNvSpPr>
          <p:nvPr>
            <p:ph sz="quarter" idx="4"/>
          </p:nvPr>
        </p:nvSpPr>
        <p:spPr>
          <a:xfrm>
            <a:off x="4629150" y="1878806"/>
            <a:ext cx="3887391"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E517F38-89D2-4413-A245-F45E59296397}"/>
              </a:ext>
            </a:extLst>
          </p:cNvPr>
          <p:cNvSpPr>
            <a:spLocks noGrp="1"/>
          </p:cNvSpPr>
          <p:nvPr>
            <p:ph type="dt" sz="half" idx="10"/>
          </p:nvPr>
        </p:nvSpPr>
        <p:spPr/>
        <p:txBody>
          <a:bodyPr/>
          <a:lstStyle/>
          <a:p>
            <a:fld id="{13D6D748-4358-48AD-A1DF-0B1F025E91CF}" type="datetimeFigureOut">
              <a:rPr lang="en-US" smtClean="0"/>
              <a:t>4/10/2020</a:t>
            </a:fld>
            <a:endParaRPr lang="en-US"/>
          </a:p>
        </p:txBody>
      </p:sp>
      <p:sp>
        <p:nvSpPr>
          <p:cNvPr id="8" name="Footer Placeholder 7">
            <a:extLst>
              <a:ext uri="{FF2B5EF4-FFF2-40B4-BE49-F238E27FC236}">
                <a16:creationId xmlns:a16="http://schemas.microsoft.com/office/drawing/2014/main" id="{533FAF3D-6FD1-4D97-B1D0-F39DC0AE5C2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089C37-7704-4344-8678-C4E65504478D}"/>
              </a:ext>
            </a:extLst>
          </p:cNvPr>
          <p:cNvSpPr>
            <a:spLocks noGrp="1"/>
          </p:cNvSpPr>
          <p:nvPr>
            <p:ph type="sldNum" sz="quarter" idx="12"/>
          </p:nvPr>
        </p:nvSpPr>
        <p:spPr/>
        <p:txBody>
          <a:bodyPr/>
          <a:lstStyle/>
          <a:p>
            <a:fld id="{39BED474-10F5-4763-ADAC-5FE9BA7A4229}" type="slidenum">
              <a:rPr lang="en-US" smtClean="0"/>
              <a:t>‹#›</a:t>
            </a:fld>
            <a:endParaRPr lang="en-US"/>
          </a:p>
        </p:txBody>
      </p:sp>
    </p:spTree>
    <p:extLst>
      <p:ext uri="{BB962C8B-B14F-4D97-AF65-F5344CB8AC3E}">
        <p14:creationId xmlns:p14="http://schemas.microsoft.com/office/powerpoint/2010/main" val="82995268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73666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3862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57040" y="0"/>
            <a:ext cx="6086960" cy="5143500"/>
          </a:xfrm>
          <a:prstGeom prst="rect">
            <a:avLst/>
          </a:prstGeom>
        </p:spPr>
      </p:pic>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6314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04855" y="-1"/>
            <a:ext cx="3239146" cy="5143501"/>
          </a:xfrm>
          <a:prstGeom prst="rect">
            <a:avLst/>
          </a:prstGeom>
        </p:spPr>
      </p:pic>
    </p:spTree>
    <p:extLst>
      <p:ext uri="{BB962C8B-B14F-4D97-AF65-F5344CB8AC3E}">
        <p14:creationId xmlns:p14="http://schemas.microsoft.com/office/powerpoint/2010/main" val="23158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56617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763977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531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7207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984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7580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0234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70383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33268013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04178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38169649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2288200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160605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9103485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23339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60961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60501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78650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18171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656913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6728031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4247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94129" y="-8166"/>
            <a:ext cx="5749872" cy="5161051"/>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150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812344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4855" y="-1"/>
            <a:ext cx="3239146" cy="5143501"/>
          </a:xfrm>
          <a:prstGeom prst="rect">
            <a:avLst/>
          </a:prstGeom>
        </p:spPr>
      </p:pic>
    </p:spTree>
    <p:extLst>
      <p:ext uri="{BB962C8B-B14F-4D97-AF65-F5344CB8AC3E}">
        <p14:creationId xmlns:p14="http://schemas.microsoft.com/office/powerpoint/2010/main" val="62029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4557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86914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650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33135847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091859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432751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216150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391151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925288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796568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04180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519155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1529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23527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626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0041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1936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37445003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83477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66335401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87765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59270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0400897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654900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04399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985314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792577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14730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9499980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1444574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566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5304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38568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783573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1413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565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13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651282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849556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44524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463987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11326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Full Content">
    <p:spTree>
      <p:nvGrpSpPr>
        <p:cNvPr id="1" name=""/>
        <p:cNvGrpSpPr/>
        <p:nvPr/>
      </p:nvGrpSpPr>
      <p:grpSpPr>
        <a:xfrm>
          <a:off x="0" y="0"/>
          <a:ext cx="0" cy="0"/>
          <a:chOff x="0" y="0"/>
          <a:chExt cx="0" cy="0"/>
        </a:xfrm>
      </p:grpSpPr>
      <p:sp>
        <p:nvSpPr>
          <p:cNvPr id="24" name="Shape 24"/>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hape 25"/>
          <p:cNvSpPr>
            <a:spLocks noGrp="1"/>
          </p:cNvSpPr>
          <p:nvPr>
            <p:ph type="title"/>
          </p:nvPr>
        </p:nvSpPr>
        <p:spPr>
          <a:prstGeom prst="rect">
            <a:avLst/>
          </a:prstGeom>
        </p:spPr>
        <p:txBody>
          <a:bodyPr/>
          <a:lstStyle/>
          <a:p>
            <a:r>
              <a:t>Title Text</a:t>
            </a:r>
          </a:p>
        </p:txBody>
      </p:sp>
      <p:sp>
        <p:nvSpPr>
          <p:cNvPr id="26" name="Shape 26"/>
          <p:cNvSpPr>
            <a:spLocks noGrp="1"/>
          </p:cNvSpPr>
          <p:nvPr>
            <p:ph type="body" sz="quarter" idx="13"/>
          </p:nvPr>
        </p:nvSpPr>
        <p:spPr>
          <a:xfrm>
            <a:off x="715789" y="4781789"/>
            <a:ext cx="1688777" cy="188914"/>
          </a:xfrm>
          <a:prstGeom prst="rect">
            <a:avLst/>
          </a:prstGeom>
        </p:spPr>
        <p:txBody>
          <a:bodyPr/>
          <a:lstStyle/>
          <a:p>
            <a:pPr defTabSz="365760">
              <a:spcBef>
                <a:spcPts val="0"/>
              </a:spcBef>
              <a:defRPr sz="240"/>
            </a:pPr>
            <a:endParaRPr/>
          </a:p>
        </p:txBody>
      </p:sp>
      <p:sp>
        <p:nvSpPr>
          <p:cNvPr id="27" name="Shape 27"/>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1989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45149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323625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5629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16294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38988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977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7968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65399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58389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39058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0845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28811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780164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8145379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093888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46319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2707197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06759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9091276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684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326844039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672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Edit Master text styles</a:t>
            </a:r>
          </a:p>
        </p:txBody>
      </p:sp>
    </p:spTree>
    <p:extLst>
      <p:ext uri="{BB962C8B-B14F-4D97-AF65-F5344CB8AC3E}">
        <p14:creationId xmlns:p14="http://schemas.microsoft.com/office/powerpoint/2010/main" val="31081306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3457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530985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425645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071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3234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2368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21654110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4285495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3"/>
            <a:ext cx="8363939" cy="623119"/>
          </a:xfrm>
        </p:spPr>
        <p:txBody>
          <a:bodyPr/>
          <a:lstStyle>
            <a:lvl1pPr>
              <a:defRPr sz="4049"/>
            </a:lvl1pPr>
          </a:lstStyle>
          <a:p>
            <a:r>
              <a:rPr lang="en-US"/>
              <a:t>Click to edit Master title style</a:t>
            </a:r>
          </a:p>
        </p:txBody>
      </p:sp>
      <p:sp>
        <p:nvSpPr>
          <p:cNvPr id="5" name="Text Placeholder 4"/>
          <p:cNvSpPr>
            <a:spLocks noGrp="1"/>
          </p:cNvSpPr>
          <p:nvPr>
            <p:ph type="body" sz="quarter" idx="10"/>
          </p:nvPr>
        </p:nvSpPr>
        <p:spPr>
          <a:xfrm>
            <a:off x="389437" y="1085850"/>
            <a:ext cx="8363939" cy="782265"/>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08" indent="-30236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21" indent="-25951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891" indent="-2523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
        <p:nvSpPr>
          <p:cNvPr id="3" name="Footer Placeholder 2"/>
          <p:cNvSpPr>
            <a:spLocks noGrp="1"/>
          </p:cNvSpPr>
          <p:nvPr>
            <p:ph type="ftr" sz="quarter" idx="11"/>
          </p:nvPr>
        </p:nvSpPr>
        <p:spPr>
          <a:xfrm>
            <a:off x="3123824" y="4767265"/>
            <a:ext cx="2896355" cy="273844"/>
          </a:xfrm>
          <a:prstGeom prst="rect">
            <a:avLst/>
          </a:prstGeom>
        </p:spPr>
        <p:txBody>
          <a:bodyPr/>
          <a:lstStyle/>
          <a:p>
            <a:r>
              <a:rPr lang="en-US">
                <a:solidFill>
                  <a:srgbClr val="292929">
                    <a:tint val="75000"/>
                  </a:srgbClr>
                </a:solidFill>
              </a:rPr>
              <a:t>Microsoft Confidential</a:t>
            </a:r>
          </a:p>
        </p:txBody>
      </p:sp>
      <p:sp>
        <p:nvSpPr>
          <p:cNvPr id="6" name="Slide Number Placeholder 5"/>
          <p:cNvSpPr>
            <a:spLocks noGrp="1"/>
          </p:cNvSpPr>
          <p:nvPr>
            <p:ph type="sldNum" sz="quarter" idx="12"/>
          </p:nvPr>
        </p:nvSpPr>
        <p:spPr>
          <a:xfrm>
            <a:off x="6553717" y="4767265"/>
            <a:ext cx="2132966" cy="273844"/>
          </a:xfrm>
          <a:prstGeom prst="rect">
            <a:avLst/>
          </a:prstGeom>
        </p:spPr>
        <p:txBody>
          <a:bodyPr/>
          <a:lstStyle/>
          <a:p>
            <a:fld id="{14E9050A-3EFB-4269-93B9-871C18DB0154}" type="slidenum">
              <a:rPr lang="en-US" smtClean="0">
                <a:solidFill>
                  <a:srgbClr val="292929">
                    <a:tint val="75000"/>
                  </a:srgbClr>
                </a:solidFill>
              </a:rPr>
              <a:pPr/>
              <a:t>‹#›</a:t>
            </a:fld>
            <a:endParaRPr lang="en-US">
              <a:solidFill>
                <a:srgbClr val="292929">
                  <a:tint val="75000"/>
                </a:srgbClr>
              </a:solidFill>
            </a:endParaRPr>
          </a:p>
        </p:txBody>
      </p:sp>
    </p:spTree>
    <p:extLst>
      <p:ext uri="{BB962C8B-B14F-4D97-AF65-F5344CB8AC3E}">
        <p14:creationId xmlns:p14="http://schemas.microsoft.com/office/powerpoint/2010/main" val="313161526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8904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048353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2D3E9E-A95C-48F2-B4BF-A71542E0BE9A}" type="datetimeFigureOut">
              <a:rPr lang="en-US" dirty="0"/>
              <a:t>4/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a:p>
        </p:txBody>
      </p:sp>
    </p:spTree>
    <p:extLst>
      <p:ext uri="{BB962C8B-B14F-4D97-AF65-F5344CB8AC3E}">
        <p14:creationId xmlns:p14="http://schemas.microsoft.com/office/powerpoint/2010/main" val="120435213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294526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0328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547992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85294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01106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90202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554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80179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50760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5810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489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395377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28086307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077555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8709230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80439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556145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482664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08189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16727379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368612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7616493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951027"/>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5691154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7261024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8458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7675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30502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052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01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59541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77537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617318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706864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2779069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833DE-2912-734F-B0A9-8D78E1ACFC00}"/>
              </a:ext>
            </a:extLst>
          </p:cNvPr>
          <p:cNvSpPr>
            <a:spLocks noGrp="1"/>
          </p:cNvSpPr>
          <p:nvPr>
            <p:ph type="ctrTitle"/>
          </p:nvPr>
        </p:nvSpPr>
        <p:spPr>
          <a:xfrm>
            <a:off x="1143000" y="1247477"/>
            <a:ext cx="6858000" cy="1384995"/>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B716838-18AC-694F-A5AC-AB227F05DA4F}"/>
              </a:ext>
            </a:extLst>
          </p:cNvPr>
          <p:cNvSpPr>
            <a:spLocks noGrp="1"/>
          </p:cNvSpPr>
          <p:nvPr>
            <p:ph type="subTitle" idx="1"/>
          </p:nvPr>
        </p:nvSpPr>
        <p:spPr>
          <a:xfrm>
            <a:off x="1143000" y="2701528"/>
            <a:ext cx="6858000" cy="276999"/>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A6C0163-6154-9F42-809B-0DED40ABACFF}"/>
              </a:ext>
            </a:extLst>
          </p:cNvPr>
          <p:cNvSpPr>
            <a:spLocks noGrp="1"/>
          </p:cNvSpPr>
          <p:nvPr>
            <p:ph type="dt" sz="half" idx="10"/>
          </p:nvPr>
        </p:nvSpPr>
        <p:spPr>
          <a:xfrm>
            <a:off x="628650" y="4767263"/>
            <a:ext cx="2057400" cy="273844"/>
          </a:xfrm>
          <a:prstGeom prst="rect">
            <a:avLst/>
          </a:prstGeom>
        </p:spPr>
        <p:txBody>
          <a:bodyPr/>
          <a:lstStyle/>
          <a:p>
            <a:fld id="{B7D19416-1204-BD4C-AC23-202D29288137}" type="datetimeFigureOut">
              <a:rPr lang="en-US" smtClean="0"/>
              <a:t>4/10/2020</a:t>
            </a:fld>
            <a:endParaRPr lang="en-US"/>
          </a:p>
        </p:txBody>
      </p:sp>
      <p:sp>
        <p:nvSpPr>
          <p:cNvPr id="5" name="Footer Placeholder 4">
            <a:extLst>
              <a:ext uri="{FF2B5EF4-FFF2-40B4-BE49-F238E27FC236}">
                <a16:creationId xmlns:a16="http://schemas.microsoft.com/office/drawing/2014/main" id="{31978495-2034-0042-A8A1-84D895E1B1E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E0D5D44-BFD9-1B47-B09A-82AD00DD7684}"/>
              </a:ext>
            </a:extLst>
          </p:cNvPr>
          <p:cNvSpPr>
            <a:spLocks noGrp="1"/>
          </p:cNvSpPr>
          <p:nvPr>
            <p:ph type="sldNum" sz="quarter" idx="12"/>
          </p:nvPr>
        </p:nvSpPr>
        <p:spPr>
          <a:xfrm>
            <a:off x="6457950" y="4767263"/>
            <a:ext cx="2057400" cy="273844"/>
          </a:xfrm>
          <a:prstGeom prst="rect">
            <a:avLst/>
          </a:prstGeom>
        </p:spPr>
        <p:txBody>
          <a:bodyPr/>
          <a:lstStyle/>
          <a:p>
            <a:fld id="{33A29ACE-7D1B-5440-A924-D3F69CF68294}" type="slidenum">
              <a:rPr lang="en-US" smtClean="0"/>
              <a:t>‹#›</a:t>
            </a:fld>
            <a:endParaRPr lang="en-US"/>
          </a:p>
        </p:txBody>
      </p:sp>
    </p:spTree>
    <p:extLst>
      <p:ext uri="{BB962C8B-B14F-4D97-AF65-F5344CB8AC3E}">
        <p14:creationId xmlns:p14="http://schemas.microsoft.com/office/powerpoint/2010/main" val="1100030654"/>
      </p:ext>
    </p:extLst>
  </p:cSld>
  <p:clrMapOvr>
    <a:overrideClrMapping bg1="lt1" tx1="dk1" bg2="lt2" tx2="dk2" accent1="accent1" accent2="accent2" accent3="accent3" accent4="accent4" accent5="accent5" accent6="accent6" hlink="hlink" folHlink="folHlink"/>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F856A-1E47-4FF5-9BBB-ECA24B8D10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131897-7E21-457D-A788-1C67493AF6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E301C8-F4D2-4D35-80E0-101D007182F3}"/>
              </a:ext>
            </a:extLst>
          </p:cNvPr>
          <p:cNvSpPr>
            <a:spLocks noGrp="1"/>
          </p:cNvSpPr>
          <p:nvPr>
            <p:ph type="dt" sz="half" idx="10"/>
          </p:nvPr>
        </p:nvSpPr>
        <p:spPr/>
        <p:txBody>
          <a:bodyPr/>
          <a:lstStyle/>
          <a:p>
            <a:fld id="{AFA68630-44C5-4208-9BF4-C1F1DF8BF62A}" type="datetimeFigureOut">
              <a:rPr lang="en-US" smtClean="0"/>
              <a:t>4/10/2020</a:t>
            </a:fld>
            <a:endParaRPr lang="en-US"/>
          </a:p>
        </p:txBody>
      </p:sp>
      <p:sp>
        <p:nvSpPr>
          <p:cNvPr id="5" name="Footer Placeholder 4">
            <a:extLst>
              <a:ext uri="{FF2B5EF4-FFF2-40B4-BE49-F238E27FC236}">
                <a16:creationId xmlns:a16="http://schemas.microsoft.com/office/drawing/2014/main" id="{4DCDB9BE-BDE8-4427-B891-7C05512B7A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7B1DCC-F2D8-4162-A799-781241740286}"/>
              </a:ext>
            </a:extLst>
          </p:cNvPr>
          <p:cNvSpPr>
            <a:spLocks noGrp="1"/>
          </p:cNvSpPr>
          <p:nvPr>
            <p:ph type="sldNum" sz="quarter" idx="12"/>
          </p:nvPr>
        </p:nvSpPr>
        <p:spPr/>
        <p:txBody>
          <a:bodyPr/>
          <a:lstStyle/>
          <a:p>
            <a:fld id="{91C95BBB-B7EF-4A67-8F14-4C84721E7771}" type="slidenum">
              <a:rPr lang="en-US" smtClean="0"/>
              <a:t>‹#›</a:t>
            </a:fld>
            <a:endParaRPr lang="en-US"/>
          </a:p>
        </p:txBody>
      </p:sp>
    </p:spTree>
    <p:extLst>
      <p:ext uri="{BB962C8B-B14F-4D97-AF65-F5344CB8AC3E}">
        <p14:creationId xmlns:p14="http://schemas.microsoft.com/office/powerpoint/2010/main" val="281169209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27270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0729891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269650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698137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12596639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85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441197" y="342901"/>
            <a:ext cx="8263890" cy="369332"/>
          </a:xfrm>
        </p:spPr>
        <p:txBody>
          <a:bodyPr/>
          <a:lstStyle>
            <a:lvl1pPr>
              <a:defRPr sz="2400"/>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6675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97907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93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088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7175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8777595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24593220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94505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2756913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601388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20521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3882396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146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40041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734015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62607137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62645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34978617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6968239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316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3157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786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1357624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706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1208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0054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077616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561653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341997" y="1441940"/>
            <a:ext cx="7038335" cy="452654"/>
          </a:xfrm>
        </p:spPr>
        <p:txBody>
          <a:bodyPr wrap="square" lIns="0" tIns="0" rIns="0" bIns="0">
            <a:spAutoFit/>
          </a:bodyPr>
          <a:lstStyle>
            <a:lvl1pPr marL="0" indent="0">
              <a:lnSpc>
                <a:spcPts val="1765"/>
              </a:lnSpc>
              <a:buNone/>
              <a:defRPr lang="en-US" sz="1471" kern="1200" spc="0" baseline="0" dirty="0">
                <a:solidFill>
                  <a:schemeClr val="tx1"/>
                </a:solidFill>
                <a:latin typeface="+mn-lt"/>
                <a:ea typeface="+mn-ea"/>
                <a:cs typeface="+mn-cs"/>
              </a:defRPr>
            </a:lvl1pPr>
            <a:lvl2pPr marL="168073" indent="0">
              <a:buNone/>
              <a:defRPr/>
            </a:lvl2pPr>
            <a:lvl3pPr marL="336145" indent="0">
              <a:buNone/>
              <a:defRPr/>
            </a:lvl3pPr>
            <a:lvl4pPr marL="504218" indent="0">
              <a:buNone/>
              <a:defRPr/>
            </a:lvl4pPr>
            <a:lvl5pPr marL="67229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341997"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3238837"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6112470" y="2363541"/>
            <a:ext cx="2713786" cy="1937453"/>
          </a:xfrm>
        </p:spPr>
        <p:txBody>
          <a:bodyPr lIns="0" tIns="0" rIns="0" bIns="0"/>
          <a:lstStyle>
            <a:lvl1pPr marL="0" indent="0">
              <a:lnSpc>
                <a:spcPts val="1324"/>
              </a:lnSpc>
              <a:spcBef>
                <a:spcPts val="0"/>
              </a:spcBef>
              <a:spcAft>
                <a:spcPts val="441"/>
              </a:spcAft>
              <a:buNone/>
              <a:defRPr sz="1029" b="0" spc="0" baseline="0">
                <a:solidFill>
                  <a:schemeClr val="tx2"/>
                </a:solidFill>
                <a:latin typeface="+mj-lt"/>
              </a:defRPr>
            </a:lvl1pPr>
            <a:lvl2pPr marL="210091" marR="0" indent="-210091" algn="l" defTabSz="685775" rtl="0" eaLnBrk="1" fontAlgn="auto" latinLnBrk="0" hangingPunct="1">
              <a:lnSpc>
                <a:spcPts val="1324"/>
              </a:lnSpc>
              <a:spcBef>
                <a:spcPts val="0"/>
              </a:spcBef>
              <a:spcAft>
                <a:spcPts val="441"/>
              </a:spcAft>
              <a:buClrTx/>
              <a:buSzPct val="90000"/>
              <a:buFont typeface="Arial" panose="020B0604020202020204" pitchFamily="34" charset="0"/>
              <a:buChar char="•"/>
              <a:tabLst/>
              <a:defRPr lang="en-US" sz="1029" kern="1200" spc="0" baseline="0" dirty="0">
                <a:solidFill>
                  <a:schemeClr val="tx1"/>
                </a:solidFill>
                <a:latin typeface="+mn-lt"/>
                <a:ea typeface="+mn-ea"/>
                <a:cs typeface="+mn-cs"/>
              </a:defRPr>
            </a:lvl2pPr>
            <a:lvl3pPr marL="336145" indent="0">
              <a:buNone/>
              <a:defRPr/>
            </a:lvl3pPr>
            <a:lvl4pPr marL="504218" indent="0">
              <a:buNone/>
              <a:defRPr/>
            </a:lvl4pPr>
            <a:lvl5pPr marL="672290" indent="0">
              <a:buNone/>
              <a:defRPr/>
            </a:lvl5pPr>
          </a:lstStyle>
          <a:p>
            <a:pPr lvl="0"/>
            <a:r>
              <a:rPr lang="en-US"/>
              <a:t>Paragraph title Segoe UI </a:t>
            </a:r>
            <a:r>
              <a:rPr lang="en-US" err="1"/>
              <a:t>Semibold</a:t>
            </a:r>
            <a:r>
              <a:rPr lang="en-US"/>
              <a:t> 14/18</a:t>
            </a:r>
          </a:p>
          <a:p>
            <a:pPr marL="210091" marR="0" lvl="1" indent="-210091" algn="l" defTabSz="685775" rtl="0" eaLnBrk="1" fontAlgn="auto" latinLnBrk="0" hangingPunct="1">
              <a:lnSpc>
                <a:spcPts val="1324"/>
              </a:lnSpc>
              <a:spcBef>
                <a:spcPts val="882"/>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10091" marR="0" lvl="1" indent="-210091" algn="l" defTabSz="685775" rtl="0" eaLnBrk="1" fontAlgn="auto" latinLnBrk="0" hangingPunct="1">
              <a:lnSpc>
                <a:spcPts val="1324"/>
              </a:lnSpc>
              <a:spcBef>
                <a:spcPts val="882"/>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315789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Title Only with gri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42394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39712434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08AB7-C9EA-463F-B951-B3E76CA3EA6A}"/>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2A5C514-3728-473A-B307-253EDF56BC56}"/>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A1FA92F-6344-4C36-A510-EA813E06325D}"/>
              </a:ext>
            </a:extLst>
          </p:cNvPr>
          <p:cNvSpPr>
            <a:spLocks noGrp="1"/>
          </p:cNvSpPr>
          <p:nvPr>
            <p:ph type="dt" sz="half" idx="10"/>
          </p:nvPr>
        </p:nvSpPr>
        <p:spPr/>
        <p:txBody>
          <a:bodyPr/>
          <a:lstStyle/>
          <a:p>
            <a:fld id="{D9108B0F-06BB-4441-B9D2-AAFCB11310D6}" type="datetimeFigureOut">
              <a:rPr lang="en-GB" smtClean="0"/>
              <a:t>10/04/2020</a:t>
            </a:fld>
            <a:endParaRPr lang="en-GB"/>
          </a:p>
        </p:txBody>
      </p:sp>
      <p:sp>
        <p:nvSpPr>
          <p:cNvPr id="5" name="Footer Placeholder 4">
            <a:extLst>
              <a:ext uri="{FF2B5EF4-FFF2-40B4-BE49-F238E27FC236}">
                <a16:creationId xmlns:a16="http://schemas.microsoft.com/office/drawing/2014/main" id="{72B06A05-F951-483F-A10B-07265B85B6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C7CE11-3981-4918-83A6-FE046D14AA9B}"/>
              </a:ext>
            </a:extLst>
          </p:cNvPr>
          <p:cNvSpPr>
            <a:spLocks noGrp="1"/>
          </p:cNvSpPr>
          <p:nvPr>
            <p:ph type="sldNum" sz="quarter" idx="12"/>
          </p:nvPr>
        </p:nvSpPr>
        <p:spPr>
          <a:xfrm>
            <a:off x="398461" y="4823278"/>
            <a:ext cx="174728" cy="107722"/>
          </a:xfrm>
        </p:spPr>
        <p:txBody>
          <a:bodyPr/>
          <a:lstStyle/>
          <a:p>
            <a:fld id="{AF23963E-5407-4009-A6EF-9CFEE0BBF26A}" type="slidenum">
              <a:rPr lang="en-GB" smtClean="0"/>
              <a:t>‹#›</a:t>
            </a:fld>
            <a:endParaRPr lang="en-GB"/>
          </a:p>
        </p:txBody>
      </p:sp>
    </p:spTree>
    <p:extLst>
      <p:ext uri="{BB962C8B-B14F-4D97-AF65-F5344CB8AC3E}">
        <p14:creationId xmlns:p14="http://schemas.microsoft.com/office/powerpoint/2010/main" val="2643226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7962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438150" y="439341"/>
            <a:ext cx="1024684" cy="219456"/>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449581" y="2185070"/>
            <a:ext cx="2091707" cy="1056132"/>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4109770" y="0"/>
            <a:ext cx="5034230" cy="5143500"/>
          </a:xfrm>
          <a:prstGeom prst="rect">
            <a:avLst/>
          </a:prstGeom>
        </p:spPr>
      </p:pic>
    </p:spTree>
    <p:extLst>
      <p:ext uri="{BB962C8B-B14F-4D97-AF65-F5344CB8AC3E}">
        <p14:creationId xmlns:p14="http://schemas.microsoft.com/office/powerpoint/2010/main" val="564865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6306741" y="442205"/>
            <a:ext cx="2400300" cy="230832"/>
          </a:xfrm>
        </p:spPr>
        <p:txBody>
          <a:bodyPr lIns="0" tIns="0" rIns="0" bIns="0"/>
          <a:lstStyle>
            <a:lvl1pPr marL="0" indent="0" algn="r">
              <a:buNone/>
              <a:defRPr sz="1500">
                <a:latin typeface="+mn-lt"/>
              </a:defRPr>
            </a:lvl1pPr>
            <a:lvl2pPr marL="257175" indent="0">
              <a:buNone/>
              <a:defRPr sz="1500"/>
            </a:lvl2pPr>
            <a:lvl3pPr marL="428625" indent="0">
              <a:buNone/>
              <a:defRPr sz="1500"/>
            </a:lvl3pPr>
            <a:lvl4pPr marL="600075" indent="0">
              <a:buNone/>
              <a:defRPr sz="1500"/>
            </a:lvl4pPr>
            <a:lvl5pPr marL="771525" indent="0">
              <a:buNone/>
              <a:defRPr sz="1500"/>
            </a:lvl5pPr>
          </a:lstStyle>
          <a:p>
            <a:pPr lvl="0"/>
            <a:r>
              <a:rPr lang="en-US"/>
              <a:t>Session code</a:t>
            </a:r>
          </a:p>
        </p:txBody>
      </p:sp>
    </p:spTree>
    <p:extLst>
      <p:ext uri="{BB962C8B-B14F-4D97-AF65-F5344CB8AC3E}">
        <p14:creationId xmlns:p14="http://schemas.microsoft.com/office/powerpoint/2010/main" val="22527919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31601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8756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5504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2075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919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664417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38253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68802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914170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227755" y="3875103"/>
            <a:ext cx="1051016" cy="1054909"/>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7872447" y="217842"/>
            <a:ext cx="1054909" cy="1054909"/>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4435911" y="422919"/>
            <a:ext cx="4293108" cy="4293108"/>
          </a:xfrm>
          <a:blipFill>
            <a:blip r:embed="rId4"/>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46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4219147" y="219456"/>
            <a:ext cx="4704588" cy="4704588"/>
          </a:xfrm>
          <a:blipFill>
            <a:blip r:embed="rId2"/>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986815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26422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62362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93764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1345832"/>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934799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4606627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3999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2335378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353057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3608459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8112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827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6858000" cy="253916"/>
          </a:xfrm>
          <a:noFill/>
        </p:spPr>
        <p:txBody>
          <a:bodyPr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20437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48694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3475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94866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7439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0864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33539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50793227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22652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1"/>
            <a:ext cx="9143533" cy="5143967"/>
          </a:xfrm>
          <a:prstGeom prst="rect">
            <a:avLst/>
          </a:prstGeom>
        </p:spPr>
      </p:pic>
      <p:sp>
        <p:nvSpPr>
          <p:cNvPr id="2" name="Title 1"/>
          <p:cNvSpPr>
            <a:spLocks noGrp="1"/>
          </p:cNvSpPr>
          <p:nvPr>
            <p:ph type="title"/>
          </p:nvPr>
        </p:nvSpPr>
        <p:spPr>
          <a:xfrm>
            <a:off x="268928" y="537931"/>
            <a:ext cx="5714708" cy="316882"/>
          </a:xfrm>
        </p:spPr>
        <p:txBody>
          <a:bodyPr>
            <a:spAutoFit/>
          </a:bodyPr>
          <a:lstStyle>
            <a:lvl1pPr>
              <a:lnSpc>
                <a:spcPct val="100000"/>
              </a:lnSpc>
              <a:defRPr sz="2059" spc="-22" baseline="0">
                <a:solidFill>
                  <a:schemeClr val="tx1">
                    <a:lumMod val="50000"/>
                  </a:schemeClr>
                </a:solidFill>
                <a:latin typeface="+mj-lt"/>
              </a:defRPr>
            </a:lvl1pPr>
          </a:lstStyle>
          <a:p>
            <a:r>
              <a:rPr lang="en-US"/>
              <a:t>Click to edit Master title style</a:t>
            </a:r>
          </a:p>
        </p:txBody>
      </p:sp>
      <p:pic>
        <p:nvPicPr>
          <p:cNvPr id="3" name="Picture 2"/>
          <p:cNvPicPr>
            <a:picLocks noChangeAspect="1"/>
          </p:cNvPicPr>
          <p:nvPr userDrawn="1"/>
        </p:nvPicPr>
        <p:blipFill>
          <a:blip r:embed="rId3"/>
          <a:stretch>
            <a:fillRect/>
          </a:stretch>
        </p:blipFill>
        <p:spPr>
          <a:xfrm>
            <a:off x="3303559" y="2571984"/>
            <a:ext cx="5401199" cy="2577587"/>
          </a:xfrm>
          <a:prstGeom prst="rect">
            <a:avLst/>
          </a:prstGeom>
        </p:spPr>
      </p:pic>
    </p:spTree>
    <p:extLst>
      <p:ext uri="{BB962C8B-B14F-4D97-AF65-F5344CB8AC3E}">
        <p14:creationId xmlns:p14="http://schemas.microsoft.com/office/powerpoint/2010/main" val="2410882851"/>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9458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1" y="891883"/>
            <a:ext cx="8740142" cy="1204176"/>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1" indent="0">
              <a:buNone/>
              <a:defRPr/>
            </a:lvl3pPr>
            <a:lvl4pPr marL="336080" indent="0">
              <a:buNone/>
              <a:defRPr/>
            </a:lvl4pPr>
            <a:lvl5pPr marL="5041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0807403"/>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328505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436532" y="2971801"/>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pic>
        <p:nvPicPr>
          <p:cNvPr id="8" name="Picture 7" descr="A group of people looking at a computer&#10;&#10;Description generated with very high confidence">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4000501" y="0"/>
            <a:ext cx="5143500" cy="5143500"/>
          </a:xfrm>
          <a:prstGeom prst="rect">
            <a:avLst/>
          </a:prstGeom>
        </p:spPr>
      </p:pic>
    </p:spTree>
    <p:extLst>
      <p:ext uri="{BB962C8B-B14F-4D97-AF65-F5344CB8AC3E}">
        <p14:creationId xmlns:p14="http://schemas.microsoft.com/office/powerpoint/2010/main" val="403936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436532" y="2971801"/>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438150" y="439342"/>
            <a:ext cx="1024830" cy="219456"/>
          </a:xfrm>
          <a:prstGeom prst="rect">
            <a:avLst/>
          </a:prstGeom>
        </p:spPr>
      </p:pic>
      <p:pic>
        <p:nvPicPr>
          <p:cNvPr id="8" name="Picture 7" descr="A group of people looking at a computer&#10;&#10;Description generated with very high confidence">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4000501" y="0"/>
            <a:ext cx="5143500" cy="5143500"/>
          </a:xfrm>
          <a:prstGeom prst="rect">
            <a:avLst/>
          </a:prstGeom>
        </p:spPr>
      </p:pic>
    </p:spTree>
    <p:extLst>
      <p:ext uri="{BB962C8B-B14F-4D97-AF65-F5344CB8AC3E}">
        <p14:creationId xmlns:p14="http://schemas.microsoft.com/office/powerpoint/2010/main" val="329653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2668390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26925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10;&#10;Description generated with very high confidence">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9144000" cy="5143500"/>
          </a:xfrm>
          <a:prstGeom prst="rect">
            <a:avLst/>
          </a:prstGeom>
        </p:spPr>
      </p:pic>
      <p:sp>
        <p:nvSpPr>
          <p:cNvPr id="9" name="Title 1"/>
          <p:cNvSpPr>
            <a:spLocks noGrp="1"/>
          </p:cNvSpPr>
          <p:nvPr>
            <p:ph type="title" hasCustomPrompt="1"/>
          </p:nvPr>
        </p:nvSpPr>
        <p:spPr>
          <a:xfrm>
            <a:off x="438150" y="1819335"/>
            <a:ext cx="3812722" cy="830997"/>
          </a:xfrm>
          <a:noFill/>
        </p:spPr>
        <p:txBody>
          <a:bodyPr wrap="square" lIns="0" tIns="0" rIns="0" bIns="0" anchor="b" anchorCtr="0">
            <a:spAutoFit/>
          </a:bodyPr>
          <a:lstStyle>
            <a:lvl1pPr>
              <a:defRPr sz="2700" spc="-38"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3813048" cy="230833"/>
          </a:xfrm>
          <a:noFill/>
        </p:spPr>
        <p:txBody>
          <a:bodyPr wrap="square" lIns="0" tIns="0" rIns="0" bIns="0">
            <a:spAutoFit/>
          </a:bodyPr>
          <a:lstStyle>
            <a:lvl1pPr marL="0" indent="0">
              <a:spcBef>
                <a:spcPts val="0"/>
              </a:spcBef>
              <a:buNone/>
              <a:defRPr sz="15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29BC94BA-9DA8-46D6-B832-8F1ABBEB6F29}"/>
              </a:ext>
            </a:extLst>
          </p:cNvPr>
          <p:cNvPicPr>
            <a:picLocks noChangeAspect="1"/>
          </p:cNvPicPr>
          <p:nvPr userDrawn="1"/>
        </p:nvPicPr>
        <p:blipFill>
          <a:blip r:embed="rId3"/>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232237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792941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spTree>
      <p:nvGrpSpPr>
        <p:cNvPr id="1" name=""/>
        <p:cNvGrpSpPr/>
        <p:nvPr/>
      </p:nvGrpSpPr>
      <p:grpSpPr>
        <a:xfrm>
          <a:off x="0" y="0"/>
          <a:ext cx="0" cy="0"/>
          <a:chOff x="0" y="0"/>
          <a:chExt cx="0" cy="0"/>
        </a:xfrm>
      </p:grpSpPr>
      <p:pic>
        <p:nvPicPr>
          <p:cNvPr id="4" name="Picture 3" descr="A person that is standing in the dark&#10;&#10;Description generated with high confidence">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9144000" cy="5143500"/>
          </a:xfrm>
          <a:prstGeom prst="rect">
            <a:avLst/>
          </a:prstGeom>
        </p:spPr>
      </p:pic>
      <p:sp>
        <p:nvSpPr>
          <p:cNvPr id="9" name="Title 1"/>
          <p:cNvSpPr>
            <a:spLocks noGrp="1"/>
          </p:cNvSpPr>
          <p:nvPr>
            <p:ph type="title" hasCustomPrompt="1"/>
          </p:nvPr>
        </p:nvSpPr>
        <p:spPr bwMode="white">
          <a:xfrm>
            <a:off x="438477" y="1819335"/>
            <a:ext cx="3812722" cy="830997"/>
          </a:xfrm>
          <a:noFill/>
        </p:spPr>
        <p:txBody>
          <a:bodyPr wrap="square" lIns="0" tIns="0" rIns="0" bIns="0" anchor="b" anchorCtr="0">
            <a:spAutoFit/>
          </a:bodyPr>
          <a:lstStyle>
            <a:lvl1pPr>
              <a:defRPr sz="2700" spc="-38"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438150" y="2971801"/>
            <a:ext cx="3813048" cy="230833"/>
          </a:xfrm>
          <a:noFill/>
        </p:spPr>
        <p:txBody>
          <a:bodyPr wrap="square" lIns="0" tIns="0" rIns="0" bIns="0">
            <a:spAutoFit/>
          </a:bodyPr>
          <a:lstStyle>
            <a:lvl1pPr marL="0" indent="0">
              <a:spcBef>
                <a:spcPts val="0"/>
              </a:spcBef>
              <a:buNone/>
              <a:defRPr sz="15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306673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llustration 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E0D0DB-FF4A-433F-A50C-E3C0ECEBD677}"/>
              </a:ext>
            </a:extLst>
          </p:cNvPr>
          <p:cNvSpPr/>
          <p:nvPr userDrawn="1"/>
        </p:nvSpPr>
        <p:spPr bwMode="ltGray">
          <a:xfrm>
            <a:off x="438150" y="1097280"/>
            <a:ext cx="7828955" cy="3604499"/>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bwMode="white">
          <a:xfrm>
            <a:off x="877824" y="2579490"/>
            <a:ext cx="3694176" cy="230833"/>
          </a:xfrm>
          <a:noFill/>
        </p:spPr>
        <p:txBody>
          <a:bodyPr wrap="square" lIns="0" tIns="0" rIns="0" bIns="0">
            <a:spAutoFit/>
          </a:bodyPr>
          <a:lstStyle>
            <a:lvl1pPr marL="0" indent="0">
              <a:spcBef>
                <a:spcPts val="0"/>
              </a:spcBef>
              <a:buNone/>
              <a:defRPr sz="1500" spc="0" baseline="0">
                <a:gradFill>
                  <a:gsLst>
                    <a:gs pos="19913">
                      <a:srgbClr val="FFFFFF"/>
                    </a:gs>
                    <a:gs pos="56000">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4" name="Picture 13">
            <a:extLst>
              <a:ext uri="{FF2B5EF4-FFF2-40B4-BE49-F238E27FC236}">
                <a16:creationId xmlns:a16="http://schemas.microsoft.com/office/drawing/2014/main" id="{1993162E-96D6-4BD4-BE32-EEF3F0C11E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628026" y="290889"/>
            <a:ext cx="3305567" cy="4852248"/>
          </a:xfrm>
          <a:prstGeom prst="rect">
            <a:avLst/>
          </a:prstGeom>
        </p:spPr>
      </p:pic>
      <p:sp>
        <p:nvSpPr>
          <p:cNvPr id="3" name="Title 2">
            <a:extLst>
              <a:ext uri="{FF2B5EF4-FFF2-40B4-BE49-F238E27FC236}">
                <a16:creationId xmlns:a16="http://schemas.microsoft.com/office/drawing/2014/main" id="{804C433D-D777-4CBE-A0A2-2DE589123C56}"/>
              </a:ext>
            </a:extLst>
          </p:cNvPr>
          <p:cNvSpPr>
            <a:spLocks noGrp="1"/>
          </p:cNvSpPr>
          <p:nvPr>
            <p:ph type="title" hasCustomPrompt="1"/>
          </p:nvPr>
        </p:nvSpPr>
        <p:spPr bwMode="ltGray">
          <a:xfrm>
            <a:off x="878325" y="1445719"/>
            <a:ext cx="3691890" cy="830997"/>
          </a:xfrm>
        </p:spPr>
        <p:txBody>
          <a:bodyPr>
            <a:spAutoFit/>
          </a:bodyPr>
          <a:lstStyle>
            <a:lvl1pPr>
              <a:defRPr>
                <a:gradFill>
                  <a:gsLst>
                    <a:gs pos="12500">
                      <a:srgbClr val="FFFFFF"/>
                    </a:gs>
                    <a:gs pos="21000">
                      <a:srgbClr val="FFFFFF"/>
                    </a:gs>
                  </a:gsLst>
                  <a:lin ang="5400000" scaled="0"/>
                </a:gradFill>
              </a:defRPr>
            </a:lvl1pPr>
          </a:lstStyle>
          <a:p>
            <a:r>
              <a:rPr lang="en-US"/>
              <a:t>Event name or presentation title</a:t>
            </a:r>
          </a:p>
        </p:txBody>
      </p:sp>
      <p:pic>
        <p:nvPicPr>
          <p:cNvPr id="8" name="MS logo gray - EMF">
            <a:extLst>
              <a:ext uri="{FF2B5EF4-FFF2-40B4-BE49-F238E27FC236}">
                <a16:creationId xmlns:a16="http://schemas.microsoft.com/office/drawing/2014/main" id="{FEFE9EDC-0A9B-494D-9A27-FCFB36997AE3}"/>
              </a:ext>
            </a:extLst>
          </p:cNvPr>
          <p:cNvPicPr>
            <a:picLocks noChangeAspect="1"/>
          </p:cNvPicPr>
          <p:nvPr userDrawn="1"/>
        </p:nvPicPr>
        <p:blipFill>
          <a:blip r:embed="rId3"/>
          <a:stretch>
            <a:fillRect/>
          </a:stretch>
        </p:blipFill>
        <p:spPr bwMode="black">
          <a:xfrm>
            <a:off x="438150" y="439342"/>
            <a:ext cx="1024830" cy="219456"/>
          </a:xfrm>
          <a:prstGeom prst="rect">
            <a:avLst/>
          </a:prstGeom>
        </p:spPr>
      </p:pic>
    </p:spTree>
    <p:extLst>
      <p:ext uri="{BB962C8B-B14F-4D97-AF65-F5344CB8AC3E}">
        <p14:creationId xmlns:p14="http://schemas.microsoft.com/office/powerpoint/2010/main" val="71810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936">
          <p15:clr>
            <a:srgbClr val="C35EA4"/>
          </p15:clr>
        </p15:guide>
        <p15:guide id="4" pos="736">
          <p15:clr>
            <a:srgbClr val="5ACBF0"/>
          </p15:clr>
        </p15:guide>
        <p15:guide id="6" pos="3840">
          <p15:clr>
            <a:srgbClr val="5ACBF0"/>
          </p15:clr>
        </p15:guide>
        <p15:guide id="7" orient="horz" pos="2165">
          <p15:clr>
            <a:srgbClr val="5ACBF0"/>
          </p15:clr>
        </p15:guide>
        <p15:guide id="8" orient="horz" pos="923">
          <p15:clr>
            <a:srgbClr val="C35EA4"/>
          </p15:clr>
        </p15:guide>
        <p15:guide id="10" orient="horz" pos="1824">
          <p15:clr>
            <a:srgbClr val="5ACBF0"/>
          </p15:clr>
        </p15:guide>
        <p15:guide id="11" orient="horz" pos="2514">
          <p15:clr>
            <a:srgbClr val="5ACBF0"/>
          </p15:clr>
        </p15:guide>
        <p15:guide id="12" orient="horz" pos="1292">
          <p15:clr>
            <a:srgbClr val="C35EA4"/>
          </p15:clr>
        </p15:guide>
        <p15:guide id="14" orient="horz" pos="121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439793" y="1075777"/>
            <a:ext cx="3099816" cy="674031"/>
          </a:xfrm>
        </p:spPr>
        <p:txBody>
          <a:bodyPr wrap="square">
            <a:spAutoFit/>
          </a:bodyPr>
          <a:lstStyle>
            <a:lvl1pPr marL="0" indent="0">
              <a:spcBef>
                <a:spcPts val="450"/>
              </a:spcBef>
              <a:buNone/>
              <a:defRPr sz="1500">
                <a:latin typeface="+mj-lt"/>
              </a:defRPr>
            </a:lvl1pPr>
            <a:lvl2pPr marL="0" indent="0">
              <a:buNone/>
              <a:defRPr sz="1350"/>
            </a:lvl2pPr>
            <a:lvl3pPr marL="128588" indent="-128588">
              <a:buFont typeface="Arial" panose="020B0604020202020204" pitchFamily="34" charset="0"/>
              <a:buChar char="•"/>
              <a:defRPr sz="1050"/>
            </a:lvl3pPr>
            <a:lvl4pPr marL="0" indent="0">
              <a:buNone/>
              <a:defRPr sz="825"/>
            </a:lvl4pPr>
            <a:lvl5pPr marL="0" indent="0">
              <a:buNone/>
              <a:defRPr sz="825"/>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441197" y="342900"/>
            <a:ext cx="6181059" cy="415499"/>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7508081" y="355947"/>
            <a:ext cx="1415654" cy="577081"/>
          </a:xfrm>
        </p:spPr>
        <p:txBody>
          <a:bodyPr wrap="square" lIns="91440" tIns="45720" rIns="91440" bIns="45720">
            <a:spAutoFit/>
          </a:bodyPr>
          <a:lstStyle>
            <a:lvl1pPr marL="0" indent="0">
              <a:spcBef>
                <a:spcPts val="0"/>
              </a:spcBef>
              <a:buNone/>
              <a:defRPr lang="en-US" sz="105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4246012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075777"/>
            <a:ext cx="8263890" cy="1209576"/>
          </a:xfrm>
        </p:spPr>
        <p:txBody>
          <a:bodyPr wrap="square">
            <a:spAutoFit/>
          </a:bodyPr>
          <a:lstStyle>
            <a:lvl1pPr marL="0" indent="0">
              <a:buNone/>
              <a:defRPr/>
            </a:lvl1pPr>
            <a:lvl2pPr marL="171417" indent="0">
              <a:buNone/>
              <a:defRPr/>
            </a:lvl2pPr>
            <a:lvl3pPr marL="342834" indent="0">
              <a:buNone/>
              <a:defRPr/>
            </a:lvl3pPr>
            <a:lvl4pPr marL="514251"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842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38150" y="1076623"/>
            <a:ext cx="8263890" cy="1209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3293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7"/>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54" indent="0">
              <a:buFont typeface="Wingdings" panose="05000000000000000000" pitchFamily="2" charset="2"/>
              <a:buNone/>
              <a:defRPr sz="1500" b="0"/>
            </a:lvl2pPr>
            <a:lvl3pPr marL="338073" indent="0">
              <a:buFont typeface="Wingdings" panose="05000000000000000000" pitchFamily="2" charset="2"/>
              <a:buNone/>
              <a:tabLst/>
              <a:defRPr sz="1200" b="0"/>
            </a:lvl3pPr>
            <a:lvl4pPr marL="489253" indent="0">
              <a:buFont typeface="Wingdings" panose="05000000000000000000" pitchFamily="2" charset="2"/>
              <a:buNone/>
              <a:defRPr sz="1050" b="0"/>
            </a:lvl4pPr>
            <a:lvl5pPr marL="640433"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9" y="1076325"/>
            <a:ext cx="3909060" cy="1237262"/>
          </a:xfrm>
        </p:spPr>
        <p:txBody>
          <a:bodyPr wrap="square">
            <a:spAutoFit/>
          </a:bodyPr>
          <a:lstStyle>
            <a:lvl1pPr marL="0" indent="0">
              <a:spcBef>
                <a:spcPts val="917"/>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54" indent="0">
              <a:buFont typeface="Wingdings" panose="05000000000000000000" pitchFamily="2" charset="2"/>
              <a:buNone/>
              <a:defRPr sz="1500" b="0"/>
            </a:lvl2pPr>
            <a:lvl3pPr marL="338073" indent="0">
              <a:buFont typeface="Wingdings" panose="05000000000000000000" pitchFamily="2" charset="2"/>
              <a:buNone/>
              <a:tabLst/>
              <a:defRPr sz="1200" b="0"/>
            </a:lvl3pPr>
            <a:lvl4pPr marL="489253" indent="0">
              <a:buFont typeface="Wingdings" panose="05000000000000000000" pitchFamily="2" charset="2"/>
              <a:buNone/>
              <a:defRPr sz="1050" b="0"/>
            </a:lvl4pPr>
            <a:lvl5pPr marL="640433"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5744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8110"/>
            <a:ext cx="3909060" cy="1237262"/>
          </a:xfrm>
        </p:spPr>
        <p:txBody>
          <a:bodyPr wrap="square">
            <a:spAutoFit/>
          </a:bodyPr>
          <a:lstStyle>
            <a:lvl1pPr marL="173798" indent="-173798">
              <a:spcBef>
                <a:spcPts val="917"/>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17" indent="-128563">
              <a:buFont typeface="Wingdings" panose="05000000000000000000" pitchFamily="2" charset="2"/>
              <a:buChar char=""/>
              <a:defRPr sz="1500" b="0"/>
            </a:lvl2pPr>
            <a:lvl3pPr marL="479730" indent="-141657">
              <a:buFont typeface="Wingdings" panose="05000000000000000000" pitchFamily="2" charset="2"/>
              <a:buChar char=""/>
              <a:tabLst/>
              <a:defRPr sz="1200" b="0"/>
            </a:lvl3pPr>
            <a:lvl4pPr marL="621387" indent="-132135">
              <a:buFont typeface="Wingdings" panose="05000000000000000000" pitchFamily="2" charset="2"/>
              <a:buChar char=""/>
              <a:defRPr sz="1050" b="0"/>
            </a:lvl4pPr>
            <a:lvl5pPr marL="767806" indent="-127373">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798" indent="-173798">
              <a:spcBef>
                <a:spcPts val="917"/>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17" indent="-128563">
              <a:buFont typeface="Wingdings" panose="05000000000000000000" pitchFamily="2" charset="2"/>
              <a:buChar char=""/>
              <a:defRPr sz="1500" b="0"/>
            </a:lvl2pPr>
            <a:lvl3pPr marL="479730" indent="-141657">
              <a:buFont typeface="Wingdings" panose="05000000000000000000" pitchFamily="2" charset="2"/>
              <a:buChar char=""/>
              <a:tabLst/>
              <a:defRPr sz="1200" b="0"/>
            </a:lvl3pPr>
            <a:lvl4pPr marL="621387" indent="-132135">
              <a:buFont typeface="Wingdings" panose="05000000000000000000" pitchFamily="2" charset="2"/>
              <a:buChar char=""/>
              <a:defRPr sz="1050" b="0"/>
            </a:lvl4pPr>
            <a:lvl5pPr marL="767806" indent="-127373">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00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09851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2867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35195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2263776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1" y="1519238"/>
            <a:ext cx="3121486" cy="830997"/>
          </a:xfrm>
        </p:spPr>
        <p:txBody>
          <a:bodyPr wrap="square" rIns="0" anchor="b">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7"/>
            <a:ext cx="3121819" cy="230833"/>
          </a:xfrm>
        </p:spPr>
        <p:txBody>
          <a:bodyPr/>
          <a:lstStyle>
            <a:lvl1pPr marL="0" indent="0">
              <a:buNone/>
              <a:defRPr sz="1500">
                <a:latin typeface="+mn-lt"/>
              </a:defRPr>
            </a:lvl1pPr>
            <a:lvl2pPr marL="171417" indent="0">
              <a:buNone/>
              <a:defRPr/>
            </a:lvl2pPr>
            <a:lvl3pPr marL="342834" indent="0">
              <a:buNone/>
              <a:defRPr/>
            </a:lvl3pPr>
            <a:lvl4pPr marL="496396" indent="0">
              <a:buNone/>
              <a:defRPr/>
            </a:lvl4pPr>
            <a:lvl5pPr marL="641624" indent="0">
              <a:buNone/>
              <a:defRPr/>
            </a:lvl5pPr>
          </a:lstStyle>
          <a:p>
            <a:pPr lvl="0"/>
            <a:r>
              <a:rPr lang="en-US"/>
              <a:t>Edit Master text styles</a:t>
            </a:r>
          </a:p>
        </p:txBody>
      </p:sp>
      <p:sp>
        <p:nvSpPr>
          <p:cNvPr id="5" name="Picture Placeholder 4">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8783852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020" y="2156252"/>
            <a:ext cx="3121486" cy="830997"/>
          </a:xfrm>
        </p:spPr>
        <p:txBody>
          <a:bodyPr wrap="square" rIns="0" anchor="ctr" anchorCtr="0">
            <a:spAutoFit/>
          </a:bodyPr>
          <a:lstStyle>
            <a:lvl1pPr>
              <a:lnSpc>
                <a:spcPct val="100000"/>
              </a:lnSpc>
              <a:defRPr sz="2700" b="1" spc="-37"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666654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150" y="2236228"/>
            <a:ext cx="3120390" cy="646331"/>
          </a:xfrm>
        </p:spPr>
        <p:txBody>
          <a:bodyPr wrap="square" anchor="t">
            <a:spAutoFit/>
          </a:bodyPr>
          <a:lstStyle>
            <a:lvl1pPr>
              <a:lnSpc>
                <a:spcPct val="100000"/>
              </a:lnSpc>
              <a:defRPr sz="21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4">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4000501" y="0"/>
            <a:ext cx="5143500" cy="5143500"/>
          </a:xfrm>
          <a:blipFill>
            <a:blip r:embed="rId2"/>
            <a:stretch>
              <a:fillRect/>
            </a:stretch>
          </a:blipFill>
        </p:spPr>
        <p:txBody>
          <a:bodyPr lIns="0" tIns="201168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38083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90"/>
            <a:ext cx="6858000" cy="230833"/>
          </a:xfrm>
          <a:noFill/>
        </p:spPr>
        <p:txBody>
          <a:bodyPr lIns="0" tIns="0" rIns="0" bIns="0">
            <a:spAutoFit/>
          </a:bodyPr>
          <a:lstStyle>
            <a:lvl1pPr marL="0" indent="0">
              <a:spcBef>
                <a:spcPts val="0"/>
              </a:spcBef>
              <a:spcAft>
                <a:spcPts val="0"/>
              </a:spcAft>
              <a:buFont typeface="Arial" panose="020B0604020202020204" pitchFamily="34" charset="0"/>
              <a:buNone/>
              <a:defRPr sz="15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93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8407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33698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8000" cy="373949"/>
          </a:xfrm>
          <a:noFill/>
        </p:spPr>
        <p:txBody>
          <a:bodyPr lIns="0" tIns="0" rIns="0" bIns="0" anchor="b" anchorCtr="0">
            <a:spAutoFit/>
          </a:bodyPr>
          <a:lstStyle>
            <a:lvl1pPr algn="l" defTabSz="699422"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13192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348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43828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699083"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a:stretch>
            <a:fillRect/>
          </a:stretch>
        </p:blipFill>
        <p:spPr bwMode="black">
          <a:xfrm>
            <a:off x="438151" y="439342"/>
            <a:ext cx="1024684" cy="219456"/>
          </a:xfrm>
          <a:prstGeom prst="rect">
            <a:avLst/>
          </a:prstGeom>
        </p:spPr>
      </p:pic>
    </p:spTree>
    <p:extLst>
      <p:ext uri="{BB962C8B-B14F-4D97-AF65-F5344CB8AC3E}">
        <p14:creationId xmlns:p14="http://schemas.microsoft.com/office/powerpoint/2010/main" val="968455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27173960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2"/>
            <a:ext cx="8479852" cy="307777"/>
          </a:xfrm>
        </p:spPr>
        <p:txBody>
          <a:bodyPr wrap="square" lIns="0" tIns="0" rIns="0" bIns="0">
            <a:spAutoFit/>
          </a:bodyPr>
          <a:lstStyle>
            <a:lvl1pPr>
              <a:lnSpc>
                <a:spcPts val="2352"/>
              </a:lnSpc>
              <a:defRPr sz="2059"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pPr defTabSz="685644"/>
            <a:r>
              <a:rPr lang="en-US">
                <a:solidFill>
                  <a:srgbClr val="FFFFFF">
                    <a:lumMod val="65000"/>
                  </a:srgbClr>
                </a:solidFill>
              </a:rPr>
              <a:t>© Microsoft Corporation                                                                                  								                                Azure </a:t>
            </a:r>
          </a:p>
        </p:txBody>
      </p:sp>
    </p:spTree>
    <p:extLst>
      <p:ext uri="{BB962C8B-B14F-4D97-AF65-F5344CB8AC3E}">
        <p14:creationId xmlns:p14="http://schemas.microsoft.com/office/powerpoint/2010/main" val="1328223815"/>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0"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525327526"/>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441197" y="342900"/>
            <a:ext cx="8263890" cy="415499"/>
          </a:xfrm>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5" name="Text Placeholder 4">
            <a:extLst>
              <a:ext uri="{FF2B5EF4-FFF2-40B4-BE49-F238E27FC236}">
                <a16:creationId xmlns:a16="http://schemas.microsoft.com/office/drawing/2014/main" id="{030D5CD1-3DDD-495F-BE41-0AC40481809D}"/>
              </a:ext>
            </a:extLst>
          </p:cNvPr>
          <p:cNvSpPr>
            <a:spLocks noGrp="1"/>
          </p:cNvSpPr>
          <p:nvPr>
            <p:ph type="body" sz="quarter" idx="11"/>
          </p:nvPr>
        </p:nvSpPr>
        <p:spPr>
          <a:xfrm>
            <a:off x="211129"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6" name="Text Placeholder 4">
            <a:extLst>
              <a:ext uri="{FF2B5EF4-FFF2-40B4-BE49-F238E27FC236}">
                <a16:creationId xmlns:a16="http://schemas.microsoft.com/office/drawing/2014/main" id="{DF43ACB6-B369-4578-9200-26694DB75A40}"/>
              </a:ext>
            </a:extLst>
          </p:cNvPr>
          <p:cNvSpPr>
            <a:spLocks noGrp="1"/>
          </p:cNvSpPr>
          <p:nvPr>
            <p:ph type="body" sz="quarter" idx="12"/>
          </p:nvPr>
        </p:nvSpPr>
        <p:spPr>
          <a:xfrm>
            <a:off x="1961783"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buNone/>
              <a:defRPr sz="900"/>
            </a:lvl4pPr>
            <a:lvl5pPr marL="0" indent="0">
              <a:buNone/>
              <a:defRPr sz="900"/>
            </a:lvl5pPr>
          </a:lstStyle>
          <a:p>
            <a:pPr lvl="0"/>
            <a:r>
              <a:rPr lang="en-US"/>
              <a:t>Click to edit Master text styles</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9602AF1F-3459-4B18-AB4E-EFCD0A724393}"/>
              </a:ext>
            </a:extLst>
          </p:cNvPr>
          <p:cNvSpPr>
            <a:spLocks noGrp="1"/>
          </p:cNvSpPr>
          <p:nvPr>
            <p:ph type="body" sz="quarter" idx="13"/>
          </p:nvPr>
        </p:nvSpPr>
        <p:spPr>
          <a:xfrm>
            <a:off x="3712436"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EF08950C-6DE8-4C00-B295-6581ECC340D6}"/>
              </a:ext>
            </a:extLst>
          </p:cNvPr>
          <p:cNvSpPr>
            <a:spLocks noGrp="1"/>
          </p:cNvSpPr>
          <p:nvPr>
            <p:ph type="body" sz="quarter" idx="14"/>
          </p:nvPr>
        </p:nvSpPr>
        <p:spPr>
          <a:xfrm>
            <a:off x="211129"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9" name="Text Placeholder 4">
            <a:extLst>
              <a:ext uri="{FF2B5EF4-FFF2-40B4-BE49-F238E27FC236}">
                <a16:creationId xmlns:a16="http://schemas.microsoft.com/office/drawing/2014/main" id="{6D624B7C-7ABB-44CA-BF48-65CA0629A5A4}"/>
              </a:ext>
            </a:extLst>
          </p:cNvPr>
          <p:cNvSpPr>
            <a:spLocks noGrp="1"/>
          </p:cNvSpPr>
          <p:nvPr>
            <p:ph type="body" sz="quarter" idx="15"/>
          </p:nvPr>
        </p:nvSpPr>
        <p:spPr>
          <a:xfrm>
            <a:off x="2012901"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0" name="Text Placeholder 4">
            <a:extLst>
              <a:ext uri="{FF2B5EF4-FFF2-40B4-BE49-F238E27FC236}">
                <a16:creationId xmlns:a16="http://schemas.microsoft.com/office/drawing/2014/main" id="{E9575C75-3C17-43C3-84AF-A93B42395B8F}"/>
              </a:ext>
            </a:extLst>
          </p:cNvPr>
          <p:cNvSpPr>
            <a:spLocks noGrp="1"/>
          </p:cNvSpPr>
          <p:nvPr>
            <p:ph type="body" sz="quarter" idx="16"/>
          </p:nvPr>
        </p:nvSpPr>
        <p:spPr>
          <a:xfrm>
            <a:off x="3814673"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1" name="Text Placeholder 4">
            <a:extLst>
              <a:ext uri="{FF2B5EF4-FFF2-40B4-BE49-F238E27FC236}">
                <a16:creationId xmlns:a16="http://schemas.microsoft.com/office/drawing/2014/main" id="{424D8784-5ED4-473A-BDCF-4677B366ED22}"/>
              </a:ext>
            </a:extLst>
          </p:cNvPr>
          <p:cNvSpPr>
            <a:spLocks noGrp="1"/>
          </p:cNvSpPr>
          <p:nvPr>
            <p:ph type="body" sz="quarter" idx="17"/>
          </p:nvPr>
        </p:nvSpPr>
        <p:spPr>
          <a:xfrm>
            <a:off x="5463090"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D11BF767-268A-4894-B84C-3EF7D7AB30E1}"/>
              </a:ext>
            </a:extLst>
          </p:cNvPr>
          <p:cNvSpPr>
            <a:spLocks noGrp="1"/>
          </p:cNvSpPr>
          <p:nvPr>
            <p:ph type="body" sz="quarter" idx="18"/>
          </p:nvPr>
        </p:nvSpPr>
        <p:spPr>
          <a:xfrm>
            <a:off x="5616446"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
        <p:nvSpPr>
          <p:cNvPr id="13" name="Text Placeholder 3">
            <a:extLst>
              <a:ext uri="{FF2B5EF4-FFF2-40B4-BE49-F238E27FC236}">
                <a16:creationId xmlns:a16="http://schemas.microsoft.com/office/drawing/2014/main" id="{1D32C240-CCEA-40E3-9681-936002399AEB}"/>
              </a:ext>
            </a:extLst>
          </p:cNvPr>
          <p:cNvSpPr>
            <a:spLocks noGrp="1"/>
          </p:cNvSpPr>
          <p:nvPr>
            <p:ph type="body" sz="quarter" idx="10"/>
          </p:nvPr>
        </p:nvSpPr>
        <p:spPr>
          <a:xfrm>
            <a:off x="441722" y="758429"/>
            <a:ext cx="8641080" cy="230832"/>
          </a:xfrm>
        </p:spPr>
        <p:txBody>
          <a:bodyPr vert="horz" wrap="square" lIns="0" tIns="0" rIns="0" bIns="0" rtlCol="0">
            <a:spAutoFit/>
          </a:bodyPr>
          <a:lstStyle>
            <a:lvl1pPr>
              <a:defRPr lang="en-US" sz="1500" dirty="0">
                <a:solidFill>
                  <a:schemeClr val="tx1">
                    <a:lumMod val="85000"/>
                    <a:lumOff val="15000"/>
                  </a:schemeClr>
                </a:solidFill>
              </a:defRPr>
            </a:lvl1pPr>
          </a:lstStyle>
          <a:p>
            <a:pPr marL="0" lvl="0" indent="0">
              <a:buNone/>
            </a:pPr>
            <a:r>
              <a:rPr lang="en-US"/>
              <a:t>Click to edit Master text styles</a:t>
            </a:r>
          </a:p>
        </p:txBody>
      </p:sp>
      <p:sp>
        <p:nvSpPr>
          <p:cNvPr id="14" name="Text Placeholder 4">
            <a:extLst>
              <a:ext uri="{FF2B5EF4-FFF2-40B4-BE49-F238E27FC236}">
                <a16:creationId xmlns:a16="http://schemas.microsoft.com/office/drawing/2014/main" id="{1FB4FCD8-3F8F-46AB-96DA-9DA7CA9AD9D2}"/>
              </a:ext>
            </a:extLst>
          </p:cNvPr>
          <p:cNvSpPr>
            <a:spLocks noGrp="1"/>
          </p:cNvSpPr>
          <p:nvPr>
            <p:ph type="body" sz="quarter" idx="19"/>
          </p:nvPr>
        </p:nvSpPr>
        <p:spPr>
          <a:xfrm>
            <a:off x="7213745" y="1392920"/>
            <a:ext cx="1645920" cy="641714"/>
          </a:xfrm>
        </p:spPr>
        <p:txBody>
          <a:bodyPr/>
          <a:lstStyle>
            <a:lvl1pPr marL="0" indent="0" algn="ctr">
              <a:buNone/>
              <a:defRPr sz="1050" b="1">
                <a:solidFill>
                  <a:srgbClr val="0078D4"/>
                </a:solidFill>
              </a:defRPr>
            </a:lvl1pPr>
            <a:lvl2pPr marL="0" indent="0" algn="ctr">
              <a:buNone/>
              <a:defRPr sz="900">
                <a:solidFill>
                  <a:srgbClr val="0078D4"/>
                </a:solidFill>
              </a:defRPr>
            </a:lvl2pPr>
            <a:lvl3pPr marL="0" indent="0" algn="ctr">
              <a:buNone/>
              <a:defRPr sz="788">
                <a:solidFill>
                  <a:srgbClr val="0078D4"/>
                </a:solidFill>
              </a:defRPr>
            </a:lvl3pPr>
            <a:lvl4pPr marL="0" indent="0" algn="ctr">
              <a:buNone/>
              <a:defRPr sz="900">
                <a:solidFill>
                  <a:srgbClr val="0078D4"/>
                </a:solidFill>
              </a:defRPr>
            </a:lvl4pPr>
            <a:lvl5pPr marL="0" indent="0" algn="ctr">
              <a:buNone/>
              <a:defRPr sz="900">
                <a:solidFill>
                  <a:srgbClr val="0078D4"/>
                </a:solidFill>
              </a:defRPr>
            </a:lvl5pPr>
          </a:lstStyle>
          <a:p>
            <a:pPr lvl="0"/>
            <a:r>
              <a:rPr lang="en-US"/>
              <a:t>Click to edit Master text styles</a:t>
            </a:r>
          </a:p>
          <a:p>
            <a:pPr lvl="1"/>
            <a:r>
              <a:rPr lang="en-US"/>
              <a:t>Second level</a:t>
            </a:r>
          </a:p>
          <a:p>
            <a:pPr lvl="2"/>
            <a:r>
              <a:rPr lang="en-US"/>
              <a:t>Third level</a:t>
            </a:r>
          </a:p>
        </p:txBody>
      </p:sp>
      <p:sp>
        <p:nvSpPr>
          <p:cNvPr id="15" name="Text Placeholder 4">
            <a:extLst>
              <a:ext uri="{FF2B5EF4-FFF2-40B4-BE49-F238E27FC236}">
                <a16:creationId xmlns:a16="http://schemas.microsoft.com/office/drawing/2014/main" id="{D3C85003-9D1D-41A4-9EED-DECBC82ABAC6}"/>
              </a:ext>
            </a:extLst>
          </p:cNvPr>
          <p:cNvSpPr>
            <a:spLocks noGrp="1"/>
          </p:cNvSpPr>
          <p:nvPr>
            <p:ph type="body" sz="quarter" idx="20"/>
          </p:nvPr>
        </p:nvSpPr>
        <p:spPr>
          <a:xfrm>
            <a:off x="7418217" y="3408588"/>
            <a:ext cx="1645920" cy="369332"/>
          </a:xfrm>
        </p:spPr>
        <p:txBody>
          <a:bodyPr/>
          <a:lstStyle>
            <a:lvl1pPr marL="0" indent="0" algn="ctr">
              <a:spcAft>
                <a:spcPts val="450"/>
              </a:spcAft>
              <a:buNone/>
              <a:defRPr sz="1200"/>
            </a:lvl1pPr>
            <a:lvl2pPr marL="0" indent="0" algn="ctr">
              <a:spcAft>
                <a:spcPts val="450"/>
              </a:spcAft>
              <a:buNone/>
              <a:defRPr sz="900"/>
            </a:lvl2pPr>
            <a:lvl3pPr marL="0" indent="0" algn="ctr">
              <a:spcAft>
                <a:spcPts val="450"/>
              </a:spcAft>
              <a:buNone/>
              <a:defRPr sz="788"/>
            </a:lvl3pPr>
            <a:lvl4pPr marL="0" indent="0" algn="ctr">
              <a:spcAft>
                <a:spcPts val="450"/>
              </a:spcAft>
              <a:buNone/>
              <a:defRPr sz="750"/>
            </a:lvl4pPr>
            <a:lvl5pPr marL="0" indent="0" algn="ctr">
              <a:spcAft>
                <a:spcPts val="450"/>
              </a:spcAft>
              <a:buNone/>
              <a:defRPr sz="750"/>
            </a:lvl5pPr>
          </a:lstStyle>
          <a:p>
            <a:pPr lvl="0"/>
            <a:r>
              <a:rPr lang="en-US"/>
              <a:t>Click to edit Master text styles</a:t>
            </a:r>
          </a:p>
        </p:txBody>
      </p:sp>
    </p:spTree>
    <p:extLst>
      <p:ext uri="{BB962C8B-B14F-4D97-AF65-F5344CB8AC3E}">
        <p14:creationId xmlns:p14="http://schemas.microsoft.com/office/powerpoint/2010/main" val="405591345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321672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6" y="465321"/>
            <a:ext cx="2717288" cy="846386"/>
          </a:xfrm>
        </p:spPr>
        <p:txBody>
          <a:bodyPr wrap="square" lIns="0" tIns="0" rIns="0" bIns="228600">
            <a:spAutoFit/>
          </a:bodyPr>
          <a:lstStyle>
            <a:lvl1pPr>
              <a:lnSpc>
                <a:spcPts val="2353"/>
              </a:lnSpc>
              <a:defRPr sz="2059">
                <a:solidFill>
                  <a:schemeClr val="tx1"/>
                </a:solidFill>
              </a:defRPr>
            </a:lvl1pPr>
          </a:lstStyle>
          <a:p>
            <a:r>
              <a:rPr lang="en-US"/>
              <a:t>Text option 2: two columns copy heavy</a:t>
            </a:r>
          </a:p>
        </p:txBody>
      </p:sp>
      <p:sp>
        <p:nvSpPr>
          <p:cNvPr id="4" name="Text Placeholder 3">
            <a:extLst>
              <a:ext uri="{FF2B5EF4-FFF2-40B4-BE49-F238E27FC236}">
                <a16:creationId xmlns:a16="http://schemas.microsoft.com/office/drawing/2014/main" id="{9A1038FE-AAA7-4FB0-839F-5F1BBDE35D59}"/>
              </a:ext>
            </a:extLst>
          </p:cNvPr>
          <p:cNvSpPr>
            <a:spLocks noGrp="1"/>
          </p:cNvSpPr>
          <p:nvPr>
            <p:ph type="body" sz="quarter" idx="14"/>
          </p:nvPr>
        </p:nvSpPr>
        <p:spPr>
          <a:xfrm>
            <a:off x="341996" y="1238889"/>
            <a:ext cx="2717288" cy="1269386"/>
          </a:xfrm>
        </p:spPr>
        <p:txBody>
          <a:bodyPr/>
          <a:lstStyle>
            <a:lvl1pPr>
              <a:spcBef>
                <a:spcPts val="441"/>
              </a:spcBef>
              <a:spcAft>
                <a:spcPts val="882"/>
              </a:spcAft>
              <a:defRPr sz="1471" spc="0" baseline="0">
                <a:solidFill>
                  <a:schemeClr val="tx2"/>
                </a:solidFill>
                <a:latin typeface="+mn-lt"/>
              </a:defRPr>
            </a:lvl1pPr>
            <a:lvl2pPr>
              <a:spcBef>
                <a:spcPts val="441"/>
              </a:spcBef>
              <a:spcAft>
                <a:spcPts val="441"/>
              </a:spcAft>
              <a:defRPr sz="1029" b="1"/>
            </a:lvl2pPr>
            <a:lvl3pPr marL="0" indent="0">
              <a:spcAft>
                <a:spcPts val="441"/>
              </a:spcAft>
              <a:buFont typeface="Arial" panose="020B0604020202020204" pitchFamily="34" charset="0"/>
              <a:buNone/>
              <a:defRPr sz="1029">
                <a:solidFill>
                  <a:schemeClr val="tx1"/>
                </a:solidFill>
                <a:latin typeface="+mn-lt"/>
              </a:defRPr>
            </a:lvl3pPr>
            <a:lvl4pPr marL="168073" indent="-87398">
              <a:buFont typeface="Arial" panose="020B0604020202020204" pitchFamily="34" charset="0"/>
              <a:buChar char="•"/>
              <a:defRPr sz="1029"/>
            </a:lvl4pPr>
            <a:lvl5pPr>
              <a:spcBef>
                <a:spcPts val="441"/>
              </a:spcBef>
              <a:defRPr sz="1029"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5917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312473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7936707" y="4759890"/>
            <a:ext cx="1138237" cy="376123"/>
          </a:xfrm>
          <a:prstGeom prst="rect">
            <a:avLst/>
          </a:prstGeom>
        </p:spPr>
      </p:pic>
    </p:spTree>
    <p:extLst>
      <p:ext uri="{BB962C8B-B14F-4D97-AF65-F5344CB8AC3E}">
        <p14:creationId xmlns:p14="http://schemas.microsoft.com/office/powerpoint/2010/main" val="379044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795731"/>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338725" y="352550"/>
            <a:ext cx="1067477" cy="228621"/>
          </a:xfrm>
          <a:prstGeom prst="rect">
            <a:avLst/>
          </a:prstGeom>
        </p:spPr>
      </p:pic>
      <p:sp>
        <p:nvSpPr>
          <p:cNvPr id="7" name="Text Placeholder 16"/>
          <p:cNvSpPr>
            <a:spLocks noGrp="1"/>
          </p:cNvSpPr>
          <p:nvPr>
            <p:ph type="body" sz="quarter" idx="13" hasCustomPrompt="1"/>
          </p:nvPr>
        </p:nvSpPr>
        <p:spPr>
          <a:xfrm>
            <a:off x="6254758" y="216421"/>
            <a:ext cx="2689274" cy="521810"/>
          </a:xfrm>
        </p:spPr>
        <p:txBody>
          <a:bodyPr lIns="182880" tIns="146304" rIns="182880" bIns="146304"/>
          <a:lstStyle>
            <a:lvl1pPr marL="0" indent="0" algn="r">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Session Code</a:t>
            </a:r>
          </a:p>
        </p:txBody>
      </p:sp>
      <p:sp>
        <p:nvSpPr>
          <p:cNvPr id="8" name="Text Placeholder 16"/>
          <p:cNvSpPr>
            <a:spLocks noGrp="1"/>
          </p:cNvSpPr>
          <p:nvPr>
            <p:ph type="body" sz="quarter" idx="14" hasCustomPrompt="1"/>
          </p:nvPr>
        </p:nvSpPr>
        <p:spPr>
          <a:xfrm>
            <a:off x="201978" y="4401262"/>
            <a:ext cx="2689274" cy="521810"/>
          </a:xfrm>
        </p:spPr>
        <p:txBody>
          <a:bodyPr lIns="182880" tIns="146304" rIns="182880" bIns="146304" anchor="b"/>
          <a:lstStyle>
            <a:lvl1pPr marL="0" indent="0" algn="l">
              <a:buNone/>
              <a:defRPr sz="1471">
                <a:latin typeface="+mn-lt"/>
              </a:defRPr>
            </a:lvl1pPr>
            <a:lvl2pPr marL="252109" indent="0">
              <a:buNone/>
              <a:defRPr sz="1471"/>
            </a:lvl2pPr>
            <a:lvl3pPr marL="420181" indent="0">
              <a:buNone/>
              <a:defRPr sz="1471"/>
            </a:lvl3pPr>
            <a:lvl4pPr marL="588254" indent="0">
              <a:buNone/>
              <a:defRPr sz="1471"/>
            </a:lvl4pPr>
            <a:lvl5pPr marL="756326" indent="0">
              <a:buNone/>
              <a:defRPr sz="1471"/>
            </a:lvl5pPr>
          </a:lstStyle>
          <a:p>
            <a:pPr lvl="0"/>
            <a:r>
              <a:rPr lang="en-US"/>
              <a:t>Yammer hashtag</a:t>
            </a:r>
          </a:p>
        </p:txBody>
      </p:sp>
    </p:spTree>
    <p:extLst>
      <p:ext uri="{BB962C8B-B14F-4D97-AF65-F5344CB8AC3E}">
        <p14:creationId xmlns:p14="http://schemas.microsoft.com/office/powerpoint/2010/main" val="1273872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C78C4-DF1F-4541-A75E-C9D3F23C8F9E}"/>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7"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39C78C4-DF1F-4541-A75E-C9D3F23C8F9E}"/>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Footer Placeholder 2">
            <a:extLst>
              <a:ext uri="{FF2B5EF4-FFF2-40B4-BE49-F238E27FC236}">
                <a16:creationId xmlns:a16="http://schemas.microsoft.com/office/drawing/2014/main" id="{5C683D75-2F44-4F14-B0F0-80F0E0ED5C96}"/>
              </a:ext>
            </a:extLst>
          </p:cNvPr>
          <p:cNvSpPr>
            <a:spLocks noGrp="1"/>
          </p:cNvSpPr>
          <p:nvPr>
            <p:ph type="ftr" sz="quarter" idx="3"/>
          </p:nvPr>
        </p:nvSpPr>
        <p:spPr>
          <a:xfrm>
            <a:off x="3376443" y="4945218"/>
            <a:ext cx="2391116" cy="102870"/>
          </a:xfrm>
          <a:prstGeom prst="rect">
            <a:avLst/>
          </a:prstGeom>
        </p:spPr>
        <p:txBody>
          <a:bodyPr lIns="0" rIns="0" anchor="ctr"/>
          <a:lstStyle>
            <a:lvl1pPr algn="ctr">
              <a:defRPr sz="675">
                <a:solidFill>
                  <a:schemeClr val="tx1"/>
                </a:solidFill>
              </a:defRPr>
            </a:lvl1pPr>
          </a:lstStyle>
          <a:p>
            <a:pPr defTabSz="685800" hangingPunct="1">
              <a:defRPr/>
            </a:pPr>
            <a:r>
              <a:rPr lang="en-US" kern="1200">
                <a:solidFill>
                  <a:srgbClr val="1A1A1A"/>
                </a:solidFill>
                <a:latin typeface="Segoe UI"/>
                <a:ea typeface="+mn-ea"/>
                <a:cs typeface="+mn-cs"/>
              </a:rPr>
              <a:t>Microsoft Confidential &amp; NDA Only </a:t>
            </a:r>
          </a:p>
        </p:txBody>
      </p:sp>
      <p:sp>
        <p:nvSpPr>
          <p:cNvPr id="5" name="Slide Number Placeholder 3">
            <a:extLst>
              <a:ext uri="{FF2B5EF4-FFF2-40B4-BE49-F238E27FC236}">
                <a16:creationId xmlns:a16="http://schemas.microsoft.com/office/drawing/2014/main" id="{D8762DCC-FA6F-46AC-B7F2-DDE2664EFE20}"/>
              </a:ext>
            </a:extLst>
          </p:cNvPr>
          <p:cNvSpPr>
            <a:spLocks noGrp="1"/>
          </p:cNvSpPr>
          <p:nvPr>
            <p:ph type="sldNum" sz="quarter" idx="4"/>
          </p:nvPr>
        </p:nvSpPr>
        <p:spPr>
          <a:xfrm>
            <a:off x="8464999" y="4945218"/>
            <a:ext cx="477073" cy="102870"/>
          </a:xfrm>
          <a:prstGeom prst="rect">
            <a:avLst/>
          </a:prstGeom>
        </p:spPr>
        <p:txBody>
          <a:bodyPr rIns="0" anchor="ctr"/>
          <a:lstStyle>
            <a:lvl1pPr algn="r">
              <a:defRPr sz="675">
                <a:solidFill>
                  <a:schemeClr val="tx1"/>
                </a:solidFill>
              </a:defRPr>
            </a:lvl1pPr>
          </a:lstStyle>
          <a:p>
            <a:pPr defTabSz="685800" hangingPunct="1">
              <a:defRPr/>
            </a:pPr>
            <a:fld id="{27258FFF-F925-446B-8502-81C933981705}" type="slidenum">
              <a:rPr lang="en-US" kern="1200" smtClean="0">
                <a:solidFill>
                  <a:srgbClr val="1A1A1A"/>
                </a:solidFill>
                <a:latin typeface="Segoe UI"/>
                <a:ea typeface="+mn-ea"/>
                <a:cs typeface="+mn-cs"/>
              </a:rPr>
              <a:pPr defTabSz="685800" hangingPunct="1">
                <a:defRPr/>
              </a:pPr>
              <a:t>‹#›</a:t>
            </a:fld>
            <a:endParaRPr lang="en-US" kern="1200">
              <a:solidFill>
                <a:srgbClr val="1A1A1A"/>
              </a:solidFill>
              <a:latin typeface="Segoe UI"/>
              <a:ea typeface="+mn-ea"/>
              <a:cs typeface="+mn-cs"/>
            </a:endParaRPr>
          </a:p>
        </p:txBody>
      </p:sp>
    </p:spTree>
    <p:extLst>
      <p:ext uri="{BB962C8B-B14F-4D97-AF65-F5344CB8AC3E}">
        <p14:creationId xmlns:p14="http://schemas.microsoft.com/office/powerpoint/2010/main" val="258899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527" y="354927"/>
            <a:ext cx="8310883" cy="415498"/>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8800608" y="4801196"/>
            <a:ext cx="275000" cy="273844"/>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260647190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3026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8473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36382-F5ED-4B23-9BF0-CF777E301D5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4C84D58-9C90-47D8-9A1C-91D4AEE32EF1}"/>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B9FDC10-5973-4019-B777-1FC6F0F6A57B}"/>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6AD1AD4D-8FC3-4080-996D-5B28B4900D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45ADD9-34BB-4B07-9C40-5DBF584BFB25}"/>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323353583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93CE-47FA-425E-8D8F-95567E9C90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25337E-46A1-4B8F-954D-6A0B783F45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56F884-B86F-47C2-87E2-583C83958E13}"/>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9A6055E0-EB2B-4F16-BE3B-54EC9DB207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749A3-4734-4793-B035-D750B3FF7976}"/>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267581679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CC9B9-93AF-49A4-8E07-AE515ED921D7}"/>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4275DA62-CF26-4ECE-95F4-16031E4B6A31}"/>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7FB21D1-F2CB-48F0-B335-3A5CB8B3D10B}"/>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8CBCA04D-9C0E-4814-80ED-A19D04C937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06B724-3A39-4673-B9C0-B9B44987325C}"/>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43992022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2CA1-66F3-43C7-84AB-F6D15265B5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451625-8C43-4B54-BD54-13765205F4D2}"/>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D06ACB-6074-4F82-9641-38CFA6313D9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1558B5-7018-48A7-88FE-2985B9A71EC7}"/>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6" name="Footer Placeholder 5">
            <a:extLst>
              <a:ext uri="{FF2B5EF4-FFF2-40B4-BE49-F238E27FC236}">
                <a16:creationId xmlns:a16="http://schemas.microsoft.com/office/drawing/2014/main" id="{D2860256-6F89-4E12-A9EF-D7A695060D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DF6A3C-B522-40F6-8288-5465E5BC5174}"/>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293932819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9ECE9-4698-4B39-A1FA-8CEB04290D62}"/>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8FF1C8-E6C9-4D09-834A-E897293C8F7F}"/>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83C07D4-F300-48DC-9CD2-1938A3806641}"/>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B22409C-2575-4C54-9F92-F97F47589881}"/>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918F282-7A2E-431C-A6B3-1846169FEE79}"/>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8D41D-034A-4F1E-90F5-2BD30C83DDE4}"/>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8" name="Footer Placeholder 7">
            <a:extLst>
              <a:ext uri="{FF2B5EF4-FFF2-40B4-BE49-F238E27FC236}">
                <a16:creationId xmlns:a16="http://schemas.microsoft.com/office/drawing/2014/main" id="{99AB7BD9-138C-4F14-8210-74B54A93192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FC87D7-EF4E-4D6E-B614-0ACAB1285EF5}"/>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126576632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22125-B283-4591-834C-BD9C079121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5C0683-4E2E-4840-8396-ED50CB6354CC}"/>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4" name="Footer Placeholder 3">
            <a:extLst>
              <a:ext uri="{FF2B5EF4-FFF2-40B4-BE49-F238E27FC236}">
                <a16:creationId xmlns:a16="http://schemas.microsoft.com/office/drawing/2014/main" id="{67170321-767B-475C-9D61-12621AD239F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1530DA-7564-4083-BA3C-53C4AA99E1A6}"/>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63142085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934DB4-E913-4B11-AF4E-083744C3F187}"/>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3" name="Footer Placeholder 2">
            <a:extLst>
              <a:ext uri="{FF2B5EF4-FFF2-40B4-BE49-F238E27FC236}">
                <a16:creationId xmlns:a16="http://schemas.microsoft.com/office/drawing/2014/main" id="{AB11F21D-2335-421B-94C8-DBC232393AD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DEC889-B006-4086-8D05-83D64438AA5C}"/>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175923215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5D961-3F4E-4436-B251-B979E8F22E9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A12E4828-D868-478F-B266-EE9DF1079225}"/>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9F04C0-FCA1-4835-BAFC-39C117C67CD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470FA0B-ED0B-4A83-987F-46B02EC9264E}"/>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6" name="Footer Placeholder 5">
            <a:extLst>
              <a:ext uri="{FF2B5EF4-FFF2-40B4-BE49-F238E27FC236}">
                <a16:creationId xmlns:a16="http://schemas.microsoft.com/office/drawing/2014/main" id="{9E8EF35A-BC8C-476A-BC14-E2C26381A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767AA9-F183-4765-9648-DF395B1DDCA7}"/>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350334936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5ABBF-369A-482C-B9A3-AAF58CC2FA5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F8B8A1D-60AA-4CB8-AEC3-3C934C93348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D3FDE5F3-448D-4AAC-A9BA-7D647C34BFA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9BAA7F8-3226-4F50-951D-E22C2CA67472}"/>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6" name="Footer Placeholder 5">
            <a:extLst>
              <a:ext uri="{FF2B5EF4-FFF2-40B4-BE49-F238E27FC236}">
                <a16:creationId xmlns:a16="http://schemas.microsoft.com/office/drawing/2014/main" id="{52B7240B-6C6B-424E-A16A-2D2B866118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138476-A477-421E-94C6-3DECF161697D}"/>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66562899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DABE5-F212-485E-BA0C-1914723518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0F8043-C6E0-4387-BF06-920A212C5A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7AECCD-1637-43F8-B4BD-342628CA74FF}"/>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2E188140-BC4B-4A39-9D80-B8697BADF0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6E8F70-2724-4B60-BCE9-82DDCFC8E565}"/>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42808660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45363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03C9F48-20E0-4187-93A9-DE28DEDB7246}"/>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4208CCF-8FFC-40DB-9691-C8D10F0B3147}"/>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8B3DDD-3936-41B5-8037-39FFC10EF21D}"/>
              </a:ext>
            </a:extLst>
          </p:cNvPr>
          <p:cNvSpPr>
            <a:spLocks noGrp="1"/>
          </p:cNvSpPr>
          <p:nvPr>
            <p:ph type="dt" sz="half" idx="10"/>
          </p:nvPr>
        </p:nvSpPr>
        <p:spPr/>
        <p:txBody>
          <a:body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F50036B4-6DB9-4EA6-A6CE-3E21ED03AE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8696D8-3510-4424-BABC-AB9E969B5D1F}"/>
              </a:ext>
            </a:extLst>
          </p:cNvPr>
          <p:cNvSpPr>
            <a:spLocks noGrp="1"/>
          </p:cNvSpPr>
          <p:nvPr>
            <p:ph type="sldNum" sz="quarter" idx="12"/>
          </p:nvPr>
        </p:nvSpPr>
        <p:spPr/>
        <p:txBody>
          <a:bodyPr/>
          <a:lstStyle/>
          <a:p>
            <a:fld id="{CE79FFA2-880B-43E5-8710-088C04929116}" type="slidenum">
              <a:rPr lang="en-US" smtClean="0"/>
              <a:t>‹#›</a:t>
            </a:fld>
            <a:endParaRPr lang="en-US"/>
          </a:p>
        </p:txBody>
      </p:sp>
    </p:spTree>
    <p:extLst>
      <p:ext uri="{BB962C8B-B14F-4D97-AF65-F5344CB8AC3E}">
        <p14:creationId xmlns:p14="http://schemas.microsoft.com/office/powerpoint/2010/main" val="2971210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390198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42517-4DBE-476C-B74B-8E82D030CBC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18B342C-5ADE-40C1-B03B-9F4B4CF98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82448F-E85C-42B5-8BB2-B7767836E088}"/>
              </a:ext>
            </a:extLst>
          </p:cNvPr>
          <p:cNvSpPr>
            <a:spLocks noGrp="1"/>
          </p:cNvSpPr>
          <p:nvPr>
            <p:ph type="dt" sz="half" idx="10"/>
          </p:nvPr>
        </p:nvSpPr>
        <p:spPr/>
        <p:txBody>
          <a:bodyPr/>
          <a:lstStyle/>
          <a:p>
            <a:fld id="{D9108B0F-06BB-4441-B9D2-AAFCB11310D6}" type="datetimeFigureOut">
              <a:rPr lang="en-GB" smtClean="0"/>
              <a:t>10/04/2020</a:t>
            </a:fld>
            <a:endParaRPr lang="en-GB"/>
          </a:p>
        </p:txBody>
      </p:sp>
      <p:sp>
        <p:nvSpPr>
          <p:cNvPr id="5" name="Footer Placeholder 4">
            <a:extLst>
              <a:ext uri="{FF2B5EF4-FFF2-40B4-BE49-F238E27FC236}">
                <a16:creationId xmlns:a16="http://schemas.microsoft.com/office/drawing/2014/main" id="{A3EB534C-58A4-4069-A64F-A302E462D3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581691B-4E23-4A35-93B9-377882594B5E}"/>
              </a:ext>
            </a:extLst>
          </p:cNvPr>
          <p:cNvSpPr>
            <a:spLocks noGrp="1"/>
          </p:cNvSpPr>
          <p:nvPr>
            <p:ph type="sldNum" sz="quarter" idx="12"/>
          </p:nvPr>
        </p:nvSpPr>
        <p:spPr>
          <a:xfrm>
            <a:off x="398461" y="4823278"/>
            <a:ext cx="174728" cy="107722"/>
          </a:xfrm>
        </p:spPr>
        <p:txBody>
          <a:bodyPr/>
          <a:lstStyle/>
          <a:p>
            <a:fld id="{AF23963E-5407-4009-A6EF-9CFEE0BBF26A}" type="slidenum">
              <a:rPr lang="en-GB" smtClean="0"/>
              <a:t>‹#›</a:t>
            </a:fld>
            <a:endParaRPr lang="en-GB"/>
          </a:p>
        </p:txBody>
      </p:sp>
    </p:spTree>
    <p:extLst>
      <p:ext uri="{BB962C8B-B14F-4D97-AF65-F5344CB8AC3E}">
        <p14:creationId xmlns:p14="http://schemas.microsoft.com/office/powerpoint/2010/main" val="31822683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8544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353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9953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587864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50270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3F3BC57-C7E7-4BFF-8DFE-C39C056C1AF0}"/>
              </a:ext>
            </a:extLst>
          </p:cNvPr>
          <p:cNvSpPr>
            <a:spLocks noGrp="1"/>
          </p:cNvSpPr>
          <p:nvPr>
            <p:ph type="title" hasCustomPrompt="1"/>
          </p:nvPr>
        </p:nvSpPr>
        <p:spPr>
          <a:xfrm>
            <a:off x="441198" y="-340253"/>
            <a:ext cx="1687640" cy="230833"/>
          </a:xfrm>
        </p:spPr>
        <p:txBody>
          <a:bodyPr anchor="b"/>
          <a:lstStyle>
            <a:lvl1pPr>
              <a:defRPr sz="1500"/>
            </a:lvl1pPr>
          </a:lstStyle>
          <a:p>
            <a:r>
              <a:rPr lang="en-US"/>
              <a:t>Microsoft Ignite</a:t>
            </a:r>
          </a:p>
        </p:txBody>
      </p:sp>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75"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43391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F873E140-EBBD-4F8B-AAA0-9EDEFA8348C0}"/>
              </a:ext>
            </a:extLst>
          </p:cNvPr>
          <p:cNvSpPr>
            <a:spLocks noGrp="1"/>
          </p:cNvSpPr>
          <p:nvPr>
            <p:ph type="body" sz="quarter" idx="14" hasCustomPrompt="1"/>
          </p:nvPr>
        </p:nvSpPr>
        <p:spPr>
          <a:xfrm>
            <a:off x="438150" y="4512564"/>
            <a:ext cx="41353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68556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B9799F4E-39BB-44E0-8B93-02F3DE8B85DF}"/>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14353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438150" y="1819335"/>
            <a:ext cx="310515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438150" y="2971800"/>
            <a:ext cx="310515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F09799ED-D3DF-469B-BE50-2A807A69EDAA}"/>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311790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78678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1"/>
          </p:nvPr>
        </p:nvSpPr>
        <p:spPr>
          <a:xfrm>
            <a:off x="654050" y="945357"/>
            <a:ext cx="8032750" cy="3649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17180467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834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670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951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48679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62347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4917"/>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3120390" cy="253916"/>
          </a:xfrm>
          <a:noFill/>
        </p:spPr>
        <p:txBody>
          <a:bodyPr wrap="square" lIns="0" tIns="0" rIns="0" bIns="0">
            <a:no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spTree>
    <p:extLst>
      <p:ext uri="{BB962C8B-B14F-4D97-AF65-F5344CB8AC3E}">
        <p14:creationId xmlns:p14="http://schemas.microsoft.com/office/powerpoint/2010/main" val="24107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3120390" cy="373949"/>
          </a:xfrm>
          <a:noFill/>
        </p:spPr>
        <p:txBody>
          <a:bodyPr wrap="square" lIns="0" tIns="0" rIns="0" bIns="0" anchor="b" anchorCtr="0">
            <a:no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1" y="1"/>
            <a:ext cx="5143499" cy="5143500"/>
          </a:xfrm>
          <a:prstGeom prst="rect">
            <a:avLst/>
          </a:prstGeom>
        </p:spPr>
      </p:pic>
    </p:spTree>
    <p:extLst>
      <p:ext uri="{BB962C8B-B14F-4D97-AF65-F5344CB8AC3E}">
        <p14:creationId xmlns:p14="http://schemas.microsoft.com/office/powerpoint/2010/main" val="117426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4168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0098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96028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38668954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699218" rtl="0" eaLnBrk="0" fontAlgn="auto" latinLnBrk="0" hangingPunct="0">
              <a:lnSpc>
                <a:spcPct val="100000"/>
              </a:lnSpc>
              <a:spcBef>
                <a:spcPts val="0"/>
              </a:spcBef>
              <a:spcAft>
                <a:spcPts val="0"/>
              </a:spcAft>
              <a:buClrTx/>
              <a:buSzTx/>
              <a:buFontTx/>
              <a:buNone/>
              <a:tabLst/>
              <a:defRPr/>
            </a:pPr>
            <a:r>
              <a:rPr kumimoji="0" lang="en-US" sz="52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15705485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0123019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0"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7" y="2908930"/>
            <a:ext cx="5378503" cy="1344245"/>
          </a:xfrm>
          <a:noFill/>
        </p:spPr>
        <p:txBody>
          <a:bodyPr lIns="164592" tIns="109728" rIns="164592" bIns="109728">
            <a:noAutofit/>
          </a:bodyPr>
          <a:lstStyle>
            <a:lvl1pPr marL="0" indent="0">
              <a:spcBef>
                <a:spcPts val="0"/>
              </a:spcBef>
              <a:buNone/>
              <a:defRPr sz="2352"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338725" y="352550"/>
            <a:ext cx="1067477" cy="228621"/>
          </a:xfrm>
          <a:prstGeom prst="rect">
            <a:avLst/>
          </a:prstGeom>
        </p:spPr>
      </p:pic>
    </p:spTree>
    <p:extLst>
      <p:ext uri="{BB962C8B-B14F-4D97-AF65-F5344CB8AC3E}">
        <p14:creationId xmlns:p14="http://schemas.microsoft.com/office/powerpoint/2010/main" val="467856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01931" y="217133"/>
            <a:ext cx="4103370" cy="784830"/>
          </a:xfrm>
        </p:spPr>
        <p:txBody>
          <a:bodyPr vert="horz" wrap="square" lIns="146304" tIns="91440" rIns="146304" bIns="91440" rtlCol="0" anchor="t">
            <a:noAutofit/>
          </a:bodyPr>
          <a:lstStyle>
            <a:lvl1pPr>
              <a:defRPr lang="en-US" sz="27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685669">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01932" y="1410892"/>
            <a:ext cx="4103369" cy="1057212"/>
          </a:xfrm>
        </p:spPr>
        <p:txBody>
          <a:bodyPr/>
          <a:lstStyle>
            <a:lvl1pPr marL="0" indent="0">
              <a:lnSpc>
                <a:spcPct val="100000"/>
              </a:lnSpc>
              <a:spcBef>
                <a:spcPts val="1050"/>
              </a:spcBef>
              <a:buFont typeface="Arial" panose="020B0604020202020204" pitchFamily="34" charset="0"/>
              <a:buNone/>
              <a:defRPr lang="en-US" sz="105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252060"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2pPr>
            <a:lvl3pPr marL="420101"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3pPr>
            <a:lvl4pPr marL="588140"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4pPr>
            <a:lvl5pPr marL="756181" indent="0">
              <a:buFont typeface="Arial" panose="020B0604020202020204" pitchFamily="34" charset="0"/>
              <a:buNone/>
              <a:defRPr sz="1050" b="0" i="0" spc="0" baseline="0">
                <a:solidFill>
                  <a:schemeClr val="bg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5368E2C1-4809-4EC3-B3E8-BC3ECFFA8A9E}"/>
              </a:ext>
            </a:extLst>
          </p:cNvPr>
          <p:cNvSpPr txBox="1"/>
          <p:nvPr userDrawn="1"/>
        </p:nvSpPr>
        <p:spPr>
          <a:xfrm>
            <a:off x="-33519" y="4882447"/>
            <a:ext cx="1815050" cy="325443"/>
          </a:xfrm>
          <a:prstGeom prst="rect">
            <a:avLst/>
          </a:prstGeom>
          <a:noFill/>
        </p:spPr>
        <p:txBody>
          <a:bodyPr wrap="square" lIns="137141" tIns="109713" rIns="137141" bIns="109713" rtlCol="0">
            <a:spAutoFit/>
          </a:bodyPr>
          <a:lstStyle/>
          <a:p>
            <a:pPr>
              <a:lnSpc>
                <a:spcPct val="90000"/>
              </a:lnSpc>
              <a:spcAft>
                <a:spcPts val="450"/>
              </a:spcAft>
            </a:pPr>
            <a:r>
              <a:rPr lang="en-US" sz="750">
                <a:solidFill>
                  <a:srgbClr val="FF0000"/>
                </a:solidFill>
              </a:rPr>
              <a:t>Microsoft Confidential</a:t>
            </a:r>
          </a:p>
        </p:txBody>
      </p:sp>
    </p:spTree>
    <p:extLst>
      <p:ext uri="{BB962C8B-B14F-4D97-AF65-F5344CB8AC3E}">
        <p14:creationId xmlns:p14="http://schemas.microsoft.com/office/powerpoint/2010/main" val="309647571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4572001" y="-2866"/>
            <a:ext cx="4571999" cy="330090"/>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01931" y="1534245"/>
            <a:ext cx="3572426" cy="1117229"/>
          </a:xfrm>
        </p:spPr>
        <p:txBody>
          <a:bodyPr/>
          <a:lstStyle>
            <a:lvl1pPr marL="0" indent="0">
              <a:lnSpc>
                <a:spcPct val="100000"/>
              </a:lnSpc>
              <a:buNone/>
              <a:defRPr lang="en-US" sz="1200" b="1" kern="1200" dirty="0" smtClean="0">
                <a:ln w="3175">
                  <a:noFill/>
                </a:ln>
                <a:solidFill>
                  <a:srgbClr val="0078D7"/>
                </a:solidFill>
                <a:latin typeface="Segoe UI Semibold" charset="0"/>
                <a:ea typeface="+mn-ea"/>
                <a:cs typeface="Segoe UI Semibold" charset="0"/>
              </a:defRPr>
            </a:lvl1pPr>
            <a:lvl2pPr marL="215462" indent="-214271">
              <a:lnSpc>
                <a:spcPct val="100000"/>
              </a:lnSpc>
              <a:buClr>
                <a:schemeClr val="tx2"/>
              </a:buClr>
              <a:buFont typeface="Arial" panose="020B0604020202020204" pitchFamily="34" charset="0"/>
              <a:buChar char="•"/>
              <a:defRPr lang="en-US" sz="1200" kern="1200" dirty="0" smtClean="0">
                <a:solidFill>
                  <a:srgbClr val="505050"/>
                </a:solidFill>
                <a:latin typeface="+mj-lt"/>
                <a:ea typeface="+mn-ea"/>
                <a:cs typeface="Segoe UI" panose="020B0502040204020203" pitchFamily="34" charset="0"/>
              </a:defRPr>
            </a:lvl2pPr>
            <a:lvl3pPr marL="427352" indent="-167846">
              <a:lnSpc>
                <a:spcPct val="100000"/>
              </a:lnSpc>
              <a:buClr>
                <a:schemeClr val="tx2"/>
              </a:buClr>
              <a:defRPr sz="1050"/>
            </a:lvl3pPr>
            <a:lvl4pPr marL="685669" indent="-167846">
              <a:lnSpc>
                <a:spcPct val="100000"/>
              </a:lnSpc>
              <a:buClr>
                <a:schemeClr val="tx2"/>
              </a:buClr>
              <a:defRPr sz="900"/>
            </a:lvl4pPr>
            <a:lvl5pPr>
              <a:lnSpc>
                <a:spcPct val="100000"/>
              </a:lnSpc>
              <a:buClr>
                <a:schemeClr val="tx2"/>
              </a:buCl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01931" y="217134"/>
            <a:ext cx="3712844" cy="674749"/>
          </a:xfrm>
        </p:spPr>
        <p:txBody>
          <a:bodyPr/>
          <a:lstStyle>
            <a:lvl1pPr>
              <a:defRPr sz="27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153220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1" y="2172731"/>
            <a:ext cx="8740142" cy="683264"/>
          </a:xfrm>
          <a:noFill/>
        </p:spPr>
        <p:txBody>
          <a:bodyPr tIns="91440" bIns="91440" anchor="t" anchorCtr="0">
            <a:spAutoFit/>
          </a:bodyPr>
          <a:lstStyle>
            <a:lvl1pPr>
              <a:defRPr sz="3600"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6557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4018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29" y="4628713"/>
            <a:ext cx="8740142" cy="296463"/>
          </a:xfrm>
          <a:prstGeom prst="rect">
            <a:avLst/>
          </a:prstGeom>
          <a:noFill/>
          <a:ln w="12700">
            <a:noFill/>
            <a:miter lim="800000"/>
            <a:headEnd type="none" w="sm" len="sm"/>
            <a:tailEnd type="none" w="sm" len="sm"/>
          </a:ln>
          <a:effectLst/>
        </p:spPr>
        <p:txBody>
          <a:bodyPr vert="horz" wrap="square" lIns="134444" tIns="107555" rIns="134444" bIns="107555" numCol="1" anchor="t" anchorCtr="0" compatLnSpc="1">
            <a:prstTxWarp prst="textNoShape">
              <a:avLst/>
            </a:prstTxWarp>
            <a:spAutoFit/>
          </a:bodyPr>
          <a:lstStyle/>
          <a:p>
            <a:pPr defTabSz="685311"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2312741"/>
            <a:ext cx="2417896" cy="518021"/>
          </a:xfrm>
          <a:prstGeom prst="rect">
            <a:avLst/>
          </a:prstGeom>
        </p:spPr>
      </p:pic>
    </p:spTree>
    <p:extLst>
      <p:ext uri="{BB962C8B-B14F-4D97-AF65-F5344CB8AC3E}">
        <p14:creationId xmlns:p14="http://schemas.microsoft.com/office/powerpoint/2010/main" val="923460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932" y="220785"/>
            <a:ext cx="8741880" cy="674749"/>
          </a:xfrm>
        </p:spPr>
        <p:txBody>
          <a:bodyPr/>
          <a:lstStyle>
            <a:lvl1pPr marL="0" algn="l" defTabSz="671639" rtl="0" eaLnBrk="1" latinLnBrk="0" hangingPunct="1">
              <a:spcBef>
                <a:spcPct val="0"/>
              </a:spcBef>
              <a:buNone/>
              <a:defRPr lang="en-US" sz="3232" b="0" i="0" u="none" kern="1200" spc="-11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84843607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201930" y="257957"/>
            <a:ext cx="4167394" cy="674749"/>
          </a:xfrm>
        </p:spPr>
        <p:txBody>
          <a:bodyPr/>
          <a:lstStyle/>
          <a:p>
            <a:r>
              <a:rPr lang="en-US"/>
              <a:t>Click to edit Master title style</a:t>
            </a:r>
          </a:p>
        </p:txBody>
      </p:sp>
    </p:spTree>
    <p:extLst>
      <p:ext uri="{BB962C8B-B14F-4D97-AF65-F5344CB8AC3E}">
        <p14:creationId xmlns:p14="http://schemas.microsoft.com/office/powerpoint/2010/main" val="50086740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5CF913C8-17C4-FB4D-9EC3-D615C3C027F0}" type="slidenum">
              <a:rPr lang="en-US" smtClean="0">
                <a:solidFill>
                  <a:prstClr val="white">
                    <a:lumMod val="65000"/>
                  </a:prstClr>
                </a:solidFill>
              </a:rPr>
              <a:pPr/>
              <a:t>‹#›</a:t>
            </a:fld>
            <a:endParaRPr lang="en-US">
              <a:solidFill>
                <a:prstClr val="white">
                  <a:lumMod val="65000"/>
                </a:prstClr>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33824" t="2340"/>
          <a:stretch/>
        </p:blipFill>
        <p:spPr>
          <a:xfrm flipH="1">
            <a:off x="8506132" y="-9525"/>
            <a:ext cx="637868" cy="1368876"/>
          </a:xfrm>
          <a:prstGeom prst="rect">
            <a:avLst/>
          </a:prstGeom>
        </p:spPr>
      </p:pic>
      <p:cxnSp>
        <p:nvCxnSpPr>
          <p:cNvPr id="6" name="Straight Connector 5"/>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19151" t="20677" r="12668" b="16420"/>
          <a:stretch/>
        </p:blipFill>
        <p:spPr>
          <a:xfrm rot="5400000">
            <a:off x="-515530" y="726702"/>
            <a:ext cx="1751804" cy="513026"/>
          </a:xfrm>
          <a:prstGeom prst="rect">
            <a:avLst/>
          </a:prstGeom>
        </p:spPr>
      </p:pic>
      <p:cxnSp>
        <p:nvCxnSpPr>
          <p:cNvPr id="9" name="Straight Connector 8"/>
          <p:cNvCxnSpPr>
            <a:endCxn id="12" idx="0"/>
          </p:cNvCxnSpPr>
          <p:nvPr userDrawn="1"/>
        </p:nvCxnSpPr>
        <p:spPr>
          <a:xfrm>
            <a:off x="532853" y="698409"/>
            <a:ext cx="7815159" cy="5482"/>
          </a:xfrm>
          <a:prstGeom prst="line">
            <a:avLst/>
          </a:prstGeom>
          <a:ln w="19050" cap="rnd">
            <a:solidFill>
              <a:schemeClr val="bg1">
                <a:lumMod val="65000"/>
              </a:schemeClr>
            </a:solidFill>
            <a:prstDash val="sysDot"/>
            <a:tailEnd type="none" w="sm" len="sm"/>
          </a:ln>
          <a:effectLst/>
        </p:spPr>
        <p:style>
          <a:lnRef idx="2">
            <a:schemeClr val="accent1"/>
          </a:lnRef>
          <a:fillRef idx="0">
            <a:schemeClr val="accent1"/>
          </a:fillRef>
          <a:effectRef idx="1">
            <a:schemeClr val="accent1"/>
          </a:effectRef>
          <a:fontRef idx="minor">
            <a:schemeClr val="tx1"/>
          </a:fontRef>
        </p:style>
      </p:cxnSp>
      <p:sp>
        <p:nvSpPr>
          <p:cNvPr id="10" name="Rectangle 9"/>
          <p:cNvSpPr/>
          <p:nvPr userDrawn="1"/>
        </p:nvSpPr>
        <p:spPr>
          <a:xfrm>
            <a:off x="7967607" y="4893113"/>
            <a:ext cx="1003801"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5  | </a:t>
            </a:r>
            <a:endParaRPr lang="en-US" sz="1800" kern="1200">
              <a:solidFill>
                <a:srgbClr val="4D4D4F"/>
              </a:solidFill>
              <a:ea typeface="+mn-ea"/>
              <a:cs typeface="+mn-cs"/>
            </a:endParaRPr>
          </a:p>
        </p:txBody>
      </p:sp>
      <p:sp>
        <p:nvSpPr>
          <p:cNvPr id="11" name="Freeform 10"/>
          <p:cNvSpPr/>
          <p:nvPr userDrawn="1"/>
        </p:nvSpPr>
        <p:spPr>
          <a:xfrm>
            <a:off x="-2856" y="315765"/>
            <a:ext cx="499960" cy="2795828"/>
          </a:xfrm>
          <a:custGeom>
            <a:avLst/>
            <a:gdLst>
              <a:gd name="connsiteX0" fmla="*/ 480225 w 480225"/>
              <a:gd name="connsiteY0" fmla="*/ 0 h 2723465"/>
              <a:gd name="connsiteX1" fmla="*/ 480225 w 480225"/>
              <a:gd name="connsiteY1" fmla="*/ 1480144 h 2723465"/>
              <a:gd name="connsiteX2" fmla="*/ 0 w 480225"/>
              <a:gd name="connsiteY2" fmla="*/ 2723465 h 2723465"/>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499960 w 499960"/>
              <a:gd name="connsiteY1" fmla="*/ 1480144 h 2795828"/>
              <a:gd name="connsiteX2" fmla="*/ 0 w 499960"/>
              <a:gd name="connsiteY2"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 name="connsiteX0" fmla="*/ 499960 w 499960"/>
              <a:gd name="connsiteY0" fmla="*/ 0 h 2795828"/>
              <a:gd name="connsiteX1" fmla="*/ 0 w 499960"/>
              <a:gd name="connsiteY1" fmla="*/ 2795828 h 2795828"/>
            </a:gdLst>
            <a:ahLst/>
            <a:cxnLst>
              <a:cxn ang="0">
                <a:pos x="connsiteX0" y="connsiteY0"/>
              </a:cxn>
              <a:cxn ang="0">
                <a:pos x="connsiteX1" y="connsiteY1"/>
              </a:cxn>
            </a:cxnLst>
            <a:rect l="l" t="t" r="r" b="b"/>
            <a:pathLst>
              <a:path w="499960" h="2795828">
                <a:moveTo>
                  <a:pt x="499960" y="0"/>
                </a:moveTo>
                <a:cubicBezTo>
                  <a:pt x="484610" y="1609520"/>
                  <a:pt x="548201" y="1942826"/>
                  <a:pt x="0" y="2795828"/>
                </a:cubicBezTo>
              </a:path>
            </a:pathLst>
          </a:custGeom>
          <a:ln w="19050" cap="rnd">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
        <p:nvSpPr>
          <p:cNvPr id="12" name="Freeform 11"/>
          <p:cNvSpPr/>
          <p:nvPr userDrawn="1"/>
        </p:nvSpPr>
        <p:spPr>
          <a:xfrm>
            <a:off x="8348012" y="309187"/>
            <a:ext cx="236823" cy="394704"/>
          </a:xfrm>
          <a:custGeom>
            <a:avLst/>
            <a:gdLst>
              <a:gd name="connsiteX0" fmla="*/ 0 w 282871"/>
              <a:gd name="connsiteY0" fmla="*/ 434176 h 434176"/>
              <a:gd name="connsiteX1" fmla="*/ 0 w 282871"/>
              <a:gd name="connsiteY1" fmla="*/ 0 h 434176"/>
              <a:gd name="connsiteX2" fmla="*/ 282871 w 282871"/>
              <a:gd name="connsiteY2" fmla="*/ 0 h 434176"/>
            </a:gdLst>
            <a:ahLst/>
            <a:cxnLst>
              <a:cxn ang="0">
                <a:pos x="connsiteX0" y="connsiteY0"/>
              </a:cxn>
              <a:cxn ang="0">
                <a:pos x="connsiteX1" y="connsiteY1"/>
              </a:cxn>
              <a:cxn ang="0">
                <a:pos x="connsiteX2" y="connsiteY2"/>
              </a:cxn>
            </a:cxnLst>
            <a:rect l="l" t="t" r="r" b="b"/>
            <a:pathLst>
              <a:path w="282871" h="434176">
                <a:moveTo>
                  <a:pt x="0" y="434176"/>
                </a:moveTo>
                <a:lnTo>
                  <a:pt x="0" y="0"/>
                </a:lnTo>
                <a:lnTo>
                  <a:pt x="282871" y="0"/>
                </a:lnTo>
              </a:path>
            </a:pathLst>
          </a:custGeom>
          <a:ln w="19050" cap="rnd">
            <a:solidFill>
              <a:schemeClr val="bg1">
                <a:lumMod val="65000"/>
              </a:schemeClr>
            </a:solidFill>
            <a:prstDash val="sysDot"/>
            <a:tailEnd type="oval"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hangingPunct="1"/>
            <a:endParaRPr lang="en-US" sz="1800" kern="1200">
              <a:solidFill>
                <a:srgbClr val="4D4D4F"/>
              </a:solidFill>
            </a:endParaRPr>
          </a:p>
        </p:txBody>
      </p:sp>
    </p:spTree>
    <p:extLst>
      <p:ext uri="{BB962C8B-B14F-4D97-AF65-F5344CB8AC3E}">
        <p14:creationId xmlns:p14="http://schemas.microsoft.com/office/powerpoint/2010/main" val="1229052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Contents or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1767422"/>
            <a:ext cx="2713786" cy="916398"/>
          </a:xfrm>
        </p:spPr>
        <p:txBody>
          <a:bodyPr lIns="0" tIns="0" rIns="0" bIns="0"/>
          <a:lstStyle>
            <a:lvl1pPr>
              <a:lnSpc>
                <a:spcPts val="2646"/>
              </a:lnSpc>
              <a:defRPr sz="205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233200" y="1767422"/>
            <a:ext cx="4317546" cy="2625450"/>
          </a:xfrm>
        </p:spPr>
        <p:txBody>
          <a:bodyPr wrap="square" lIns="0" tIns="0" rIns="0" bIns="0">
            <a:noAutofit/>
          </a:bodyPr>
          <a:lstStyle>
            <a:lvl1pPr marL="0" indent="0" defTabSz="380425">
              <a:spcAft>
                <a:spcPts val="881"/>
              </a:spcAft>
              <a:buNone/>
              <a:defRPr sz="1028" b="0" i="0" spc="0" baseline="0">
                <a:solidFill>
                  <a:srgbClr val="000000"/>
                </a:solidFill>
                <a:latin typeface="Segoe UI" panose="020B0502040204020203" pitchFamily="34" charset="0"/>
                <a:cs typeface="Segoe UI" panose="020B0502040204020203" pitchFamily="34" charset="0"/>
              </a:defRPr>
            </a:lvl1pPr>
            <a:lvl2pPr marL="168041" indent="0">
              <a:buNone/>
              <a:defRPr sz="1324"/>
            </a:lvl2pPr>
            <a:lvl3pPr marL="336080" indent="0">
              <a:buNone/>
              <a:defRPr sz="1324"/>
            </a:lvl3pPr>
            <a:lvl4pPr marL="504121" indent="0">
              <a:buNone/>
              <a:defRPr sz="1324"/>
            </a:lvl4pPr>
            <a:lvl5pPr marL="672161" indent="0">
              <a:buNone/>
              <a:defRPr sz="1324"/>
            </a:lvl5pPr>
          </a:lstStyle>
          <a:p>
            <a:pPr lvl="0"/>
            <a:r>
              <a:rPr lang="en-US"/>
              <a:t>##	Section Title</a:t>
            </a:r>
          </a:p>
          <a:p>
            <a:pPr lvl="0"/>
            <a:r>
              <a:rPr lang="en-US"/>
              <a:t>##	Section Title</a:t>
            </a:r>
          </a:p>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271380"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pic>
        <p:nvPicPr>
          <p:cNvPr id="5" name="Graphic 4">
            <a:extLst>
              <a:ext uri="{FF2B5EF4-FFF2-40B4-BE49-F238E27FC236}">
                <a16:creationId xmlns:a16="http://schemas.microsoft.com/office/drawing/2014/main" id="{37FE604F-EF7F-FB45-B9F6-5D7089F7A12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1700" y="333029"/>
            <a:ext cx="1291538" cy="156572"/>
          </a:xfrm>
          <a:prstGeom prst="rect">
            <a:avLst/>
          </a:prstGeom>
        </p:spPr>
      </p:pic>
    </p:spTree>
    <p:extLst>
      <p:ext uri="{BB962C8B-B14F-4D97-AF65-F5344CB8AC3E}">
        <p14:creationId xmlns:p14="http://schemas.microsoft.com/office/powerpoint/2010/main" val="141282609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433965"/>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12D3CAF-04A4-4FC1-9211-7D9B1DE858EC}" type="datetimeFigureOut">
              <a:rPr lang="en-US" smtClean="0"/>
              <a:t>4/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9208BD-18EF-463C-90C1-69F827E8F713}" type="slidenum">
              <a:rPr lang="en-US" smtClean="0"/>
              <a:t>‹#›</a:t>
            </a:fld>
            <a:endParaRPr lang="en-US"/>
          </a:p>
        </p:txBody>
      </p:sp>
    </p:spTree>
    <p:extLst>
      <p:ext uri="{BB962C8B-B14F-4D97-AF65-F5344CB8AC3E}">
        <p14:creationId xmlns:p14="http://schemas.microsoft.com/office/powerpoint/2010/main" val="10185099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B0F60-170E-4151-80EE-CC099F8855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771C34-BDBE-4E0B-858D-D5428DBF67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9CE3C8-877A-452D-90BC-F5166927AD9B}"/>
              </a:ext>
            </a:extLst>
          </p:cNvPr>
          <p:cNvSpPr>
            <a:spLocks noGrp="1"/>
          </p:cNvSpPr>
          <p:nvPr>
            <p:ph type="dt" sz="half" idx="10"/>
          </p:nvPr>
        </p:nvSpPr>
        <p:spPr/>
        <p:txBody>
          <a:bodyPr/>
          <a:lstStyle/>
          <a:p>
            <a:fld id="{7425BB7C-02A3-4E50-BA61-1B5FF16CCE1D}" type="datetimeFigureOut">
              <a:rPr lang="en-US" smtClean="0"/>
              <a:t>4/10/2020</a:t>
            </a:fld>
            <a:endParaRPr lang="en-US"/>
          </a:p>
        </p:txBody>
      </p:sp>
      <p:sp>
        <p:nvSpPr>
          <p:cNvPr id="5" name="Footer Placeholder 4">
            <a:extLst>
              <a:ext uri="{FF2B5EF4-FFF2-40B4-BE49-F238E27FC236}">
                <a16:creationId xmlns:a16="http://schemas.microsoft.com/office/drawing/2014/main" id="{981424A8-F549-46E9-86DF-65F92D2703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62F5F0-C7DA-4D47-81E6-DC639F42DB88}"/>
              </a:ext>
            </a:extLst>
          </p:cNvPr>
          <p:cNvSpPr>
            <a:spLocks noGrp="1"/>
          </p:cNvSpPr>
          <p:nvPr>
            <p:ph type="sldNum" sz="quarter" idx="12"/>
          </p:nvPr>
        </p:nvSpPr>
        <p:spPr/>
        <p:txBody>
          <a:bodyPr/>
          <a:lstStyle/>
          <a:p>
            <a:fld id="{94538361-0A93-47DE-9125-CBB9F6B57EAF}" type="slidenum">
              <a:rPr lang="en-US" smtClean="0"/>
              <a:t>‹#›</a:t>
            </a:fld>
            <a:endParaRPr lang="en-US"/>
          </a:p>
        </p:txBody>
      </p:sp>
    </p:spTree>
    <p:extLst>
      <p:ext uri="{BB962C8B-B14F-4D97-AF65-F5344CB8AC3E}">
        <p14:creationId xmlns:p14="http://schemas.microsoft.com/office/powerpoint/2010/main" val="28143366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319819" y="2080227"/>
            <a:ext cx="7201360" cy="548674"/>
          </a:xfrm>
          <a:noFill/>
        </p:spPr>
        <p:txBody>
          <a:bodyPr vert="horz" wrap="square" lIns="0" tIns="0" rIns="0" bIns="0" rtlCol="0" anchor="t" anchorCtr="0">
            <a:noAutofit/>
          </a:bodyPr>
          <a:lstStyle>
            <a:lvl1pPr>
              <a:lnSpc>
                <a:spcPct val="90000"/>
              </a:lnSpc>
              <a:defRPr lang="en-US" sz="3969" b="0" kern="1200" cap="none" spc="-110" baseline="0" dirty="0">
                <a:ln w="3175">
                  <a:noFill/>
                </a:ln>
                <a:solidFill>
                  <a:schemeClr val="tx1"/>
                </a:solidFill>
                <a:effectLst/>
                <a:latin typeface="+mj-lt"/>
                <a:ea typeface="+mn-ea"/>
                <a:cs typeface="Segoe UI" pitchFamily="34" charset="0"/>
              </a:defRPr>
            </a:lvl1pPr>
          </a:lstStyle>
          <a:p>
            <a:pPr marL="0" lvl="0" algn="l" defTabSz="685512" rtl="0" eaLnBrk="1" latinLnBrk="0" hangingPunct="1">
              <a:lnSpc>
                <a:spcPts val="4116"/>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327285" y="4823224"/>
            <a:ext cx="8494564" cy="71302"/>
            <a:chOff x="445128" y="6559056"/>
            <a:chExt cx="11553197" cy="96964"/>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48386" cy="96964"/>
            </a:xfrm>
            <a:prstGeom prst="rect">
              <a:avLst/>
            </a:prstGeom>
            <a:noFill/>
          </p:spPr>
          <p:txBody>
            <a:bodyPr wrap="none" lIns="0" tIns="0" rIns="0" bIns="0" rtlCol="0">
              <a:spAutoFit/>
            </a:bodyPr>
            <a:lstStyle/>
            <a:p>
              <a:pPr>
                <a:lnSpc>
                  <a:spcPct val="90000"/>
                </a:lnSpc>
                <a:spcAft>
                  <a:spcPts val="441"/>
                </a:spcAft>
              </a:pPr>
              <a:r>
                <a:rPr lang="en-US" sz="515">
                  <a:solidFill>
                    <a:schemeClr val="tx1"/>
                  </a:solidFill>
                </a:rPr>
                <a:t>© Microsoft Corporation</a:t>
              </a:r>
              <a:endParaRPr lang="en-US" sz="588">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solidFill>
                  <a:schemeClr val="tx1"/>
                </a:solidFill>
                <a:ea typeface="Segoe UI" pitchFamily="34" charset="0"/>
                <a:cs typeface="Segoe UI" pitchFamily="34" charset="0"/>
              </a:endParaRPr>
            </a:p>
          </p:txBody>
        </p:sp>
      </p:grpSp>
      <p:sp>
        <p:nvSpPr>
          <p:cNvPr id="4" name="Text Placeholder 3">
            <a:extLst>
              <a:ext uri="{FF2B5EF4-FFF2-40B4-BE49-F238E27FC236}">
                <a16:creationId xmlns:a16="http://schemas.microsoft.com/office/drawing/2014/main" id="{52054665-4AEA-42CF-8F22-4D0CF3B8EDAE}"/>
              </a:ext>
            </a:extLst>
          </p:cNvPr>
          <p:cNvSpPr>
            <a:spLocks noGrp="1"/>
          </p:cNvSpPr>
          <p:nvPr>
            <p:ph type="body" sz="quarter" idx="10"/>
          </p:nvPr>
        </p:nvSpPr>
        <p:spPr>
          <a:xfrm>
            <a:off x="326231" y="1757062"/>
            <a:ext cx="6319838" cy="33009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p:txBody>
      </p:sp>
    </p:spTree>
    <p:extLst>
      <p:ext uri="{BB962C8B-B14F-4D97-AF65-F5344CB8AC3E}">
        <p14:creationId xmlns:p14="http://schemas.microsoft.com/office/powerpoint/2010/main" val="18633818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059">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341997" y="1442101"/>
            <a:ext cx="8479852" cy="466731"/>
          </a:xfrm>
        </p:spPr>
        <p:txBody>
          <a:bodyPr wrap="square" lIns="0" tIns="0" rIns="0" bIns="0">
            <a:spAutoFit/>
          </a:bodyPr>
          <a:lstStyle>
            <a:lvl1pPr marL="0" indent="0">
              <a:lnSpc>
                <a:spcPts val="1765"/>
              </a:lnSpc>
              <a:buNone/>
              <a:defRPr sz="1471" b="0" i="0" spc="0">
                <a:solidFill>
                  <a:schemeClr val="tx1"/>
                </a:solidFill>
                <a:latin typeface="+mj-lt"/>
              </a:defRPr>
            </a:lvl1pPr>
            <a:lvl2pPr marL="0" indent="0">
              <a:lnSpc>
                <a:spcPts val="1765"/>
              </a:lnSpc>
              <a:buNone/>
              <a:defRPr spc="0"/>
            </a:lvl2pPr>
            <a:lvl3pPr marL="336145" indent="0">
              <a:buNone/>
              <a:defRPr/>
            </a:lvl3pPr>
            <a:lvl4pPr marL="504218" indent="0">
              <a:buNone/>
              <a:defRPr/>
            </a:lvl4pPr>
            <a:lvl5pPr marL="67229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341997" y="2363542"/>
            <a:ext cx="8479852" cy="332879"/>
          </a:xfrm>
        </p:spPr>
        <p:txBody>
          <a:bodyPr lIns="0" tIns="0" rIns="0" bIns="0"/>
          <a:lstStyle>
            <a:lvl1pPr marL="0" indent="0">
              <a:lnSpc>
                <a:spcPts val="1324"/>
              </a:lnSpc>
              <a:spcBef>
                <a:spcPts val="0"/>
              </a:spcBef>
              <a:buNone/>
              <a:defRPr sz="1029" b="0" spc="0">
                <a:solidFill>
                  <a:schemeClr val="tx2"/>
                </a:solidFill>
                <a:latin typeface="+mj-lt"/>
              </a:defRPr>
            </a:lvl1pPr>
            <a:lvl2pPr marL="0" indent="0">
              <a:lnSpc>
                <a:spcPts val="1324"/>
              </a:lnSpc>
              <a:spcBef>
                <a:spcPts val="0"/>
              </a:spcBef>
              <a:buNone/>
              <a:defRPr sz="1029" spc="0">
                <a:solidFill>
                  <a:schemeClr val="tx1"/>
                </a:solidFill>
              </a:defRPr>
            </a:lvl2pPr>
            <a:lvl3pPr marL="336145" indent="0">
              <a:buNone/>
              <a:defRPr/>
            </a:lvl3pPr>
            <a:lvl4pPr marL="504218" indent="0">
              <a:buNone/>
              <a:defRPr/>
            </a:lvl4pPr>
            <a:lvl5pPr marL="67229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341997" y="3264710"/>
            <a:ext cx="8479852" cy="274691"/>
          </a:xfrm>
        </p:spPr>
        <p:txBody>
          <a:bodyPr lIns="0" tIns="0" rIns="0" bIns="0"/>
          <a:lstStyle>
            <a:lvl1pPr marL="0" indent="0">
              <a:lnSpc>
                <a:spcPts val="882"/>
              </a:lnSpc>
              <a:spcBef>
                <a:spcPts val="0"/>
              </a:spcBef>
              <a:buNone/>
              <a:defRPr sz="735" spc="0">
                <a:solidFill>
                  <a:schemeClr val="tx1"/>
                </a:solidFill>
              </a:defRPr>
            </a:lvl1pPr>
            <a:lvl2pPr marL="0" indent="0">
              <a:lnSpc>
                <a:spcPct val="100000"/>
              </a:lnSpc>
              <a:spcBef>
                <a:spcPts val="0"/>
              </a:spcBef>
              <a:buNone/>
              <a:defRPr sz="735" spc="0">
                <a:solidFill>
                  <a:schemeClr val="tx1"/>
                </a:solidFill>
              </a:defRPr>
            </a:lvl2pPr>
            <a:lvl3pPr marL="336145" indent="0">
              <a:buNone/>
              <a:defRPr/>
            </a:lvl3pPr>
            <a:lvl4pPr marL="50421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84385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Content Half Left">
    <p:bg>
      <p:bgPr>
        <a:solidFill>
          <a:schemeClr val="accent1"/>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AC21BB0E-11FF-4849-A437-1A08AE905469}"/>
              </a:ext>
            </a:extLst>
          </p:cNvPr>
          <p:cNvSpPr>
            <a:spLocks noGrp="1"/>
          </p:cNvSpPr>
          <p:nvPr>
            <p:ph type="subTitle" idx="27" hasCustomPrompt="1"/>
          </p:nvPr>
        </p:nvSpPr>
        <p:spPr>
          <a:xfrm>
            <a:off x="5038887" y="1214592"/>
            <a:ext cx="3389779" cy="673518"/>
          </a:xfrm>
        </p:spPr>
        <p:txBody>
          <a:bodyPr wrap="square">
            <a:spAutoFit/>
          </a:bodyPr>
          <a:lstStyle>
            <a:lvl1pPr marL="0" indent="0" algn="l">
              <a:spcBef>
                <a:spcPts val="441"/>
              </a:spcBef>
              <a:spcAft>
                <a:spcPts val="900"/>
              </a:spcAft>
              <a:buNone/>
              <a:defRPr sz="1765" b="0" i="0" spc="-45" baseline="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p:nvSpPr>
        <p:spPr>
          <a:xfrm>
            <a:off x="2974064" y="0"/>
            <a:ext cx="6169937" cy="51435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 name="Title 2">
            <a:extLst>
              <a:ext uri="{FF2B5EF4-FFF2-40B4-BE49-F238E27FC236}">
                <a16:creationId xmlns:a16="http://schemas.microsoft.com/office/drawing/2014/main" id="{C573D2A1-34C9-43F7-AAC2-60C337F2EE4F}"/>
              </a:ext>
            </a:extLst>
          </p:cNvPr>
          <p:cNvSpPr>
            <a:spLocks noGrp="1"/>
          </p:cNvSpPr>
          <p:nvPr>
            <p:ph type="title"/>
          </p:nvPr>
        </p:nvSpPr>
        <p:spPr>
          <a:xfrm>
            <a:off x="338277" y="2292745"/>
            <a:ext cx="2527145" cy="558011"/>
          </a:xfrm>
        </p:spPr>
        <p:txBody>
          <a:bodyPr anchor="ctr"/>
          <a:lstStyle>
            <a:lvl1pPr>
              <a:defRPr sz="3600"/>
            </a:lvl1pPr>
          </a:lstStyle>
          <a:p>
            <a:r>
              <a:rPr lang="en-US"/>
              <a:t>Click to edit</a:t>
            </a:r>
          </a:p>
        </p:txBody>
      </p:sp>
      <p:sp>
        <p:nvSpPr>
          <p:cNvPr id="5" name="Text Placeholder 4">
            <a:extLst>
              <a:ext uri="{FF2B5EF4-FFF2-40B4-BE49-F238E27FC236}">
                <a16:creationId xmlns:a16="http://schemas.microsoft.com/office/drawing/2014/main" id="{EB705021-9417-4BAE-8E37-C4E490073B7E}"/>
              </a:ext>
            </a:extLst>
          </p:cNvPr>
          <p:cNvSpPr>
            <a:spLocks noGrp="1"/>
          </p:cNvSpPr>
          <p:nvPr>
            <p:ph type="body" sz="quarter" idx="28"/>
          </p:nvPr>
        </p:nvSpPr>
        <p:spPr>
          <a:xfrm>
            <a:off x="3526632" y="988219"/>
            <a:ext cx="4164806" cy="1712777"/>
          </a:xfrm>
        </p:spPr>
        <p:txBody>
          <a:bodyPr/>
          <a:lstStyle>
            <a:lvl1pPr>
              <a:spcBef>
                <a:spcPts val="1800"/>
              </a:spcBef>
              <a:spcAft>
                <a:spcPts val="0"/>
              </a:spcAft>
              <a:defRPr sz="2400"/>
            </a:lvl1pPr>
            <a:lvl2pPr>
              <a:defRPr sz="15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2079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327284" y="4964265"/>
            <a:ext cx="8494564" cy="71302"/>
            <a:chOff x="445128" y="6559056"/>
            <a:chExt cx="11553197" cy="9696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48386" cy="96964"/>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7C211DD-0FB3-45BD-B979-364AB50D224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8238899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5321"/>
            <a:ext cx="8479852" cy="307777"/>
          </a:xfrm>
        </p:spPr>
        <p:txBody>
          <a:bodyPr wrap="square" lIns="0" tIns="0" rIns="0" bIns="0">
            <a:spAutoFit/>
          </a:bodyPr>
          <a:lstStyle>
            <a:lvl1pPr>
              <a:lnSpc>
                <a:spcPts val="2353"/>
              </a:lnSpc>
              <a:defRPr sz="2100" strike="noStrike">
                <a:solidFill>
                  <a:schemeClr val="tx1"/>
                </a:solidFill>
              </a:defRPr>
            </a:lvl1pPr>
          </a:lstStyle>
          <a:p>
            <a:r>
              <a:rPr lang="en-US"/>
              <a:t>Title</a:t>
            </a:r>
          </a:p>
        </p:txBody>
      </p:sp>
    </p:spTree>
    <p:extLst>
      <p:ext uri="{BB962C8B-B14F-4D97-AF65-F5344CB8AC3E}">
        <p14:creationId xmlns:p14="http://schemas.microsoft.com/office/powerpoint/2010/main" val="117341113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6761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17DE38B5-BBC7-42CE-B29C-E86707CBDAF4}"/>
              </a:ext>
            </a:extLst>
          </p:cNvPr>
          <p:cNvSpPr>
            <a:spLocks noGrp="1"/>
          </p:cNvSpPr>
          <p:nvPr>
            <p:ph type="body" sz="quarter" idx="10"/>
          </p:nvPr>
        </p:nvSpPr>
        <p:spPr>
          <a:xfrm>
            <a:off x="438150" y="733699"/>
            <a:ext cx="8268891" cy="392415"/>
          </a:xfrm>
        </p:spPr>
        <p:txBody>
          <a:bodyPr/>
          <a:lstStyle>
            <a:lvl1pPr marL="0" indent="0" algn="ctr">
              <a:buNone/>
              <a:defRPr sz="1500"/>
            </a:lvl1pPr>
            <a:lvl2pPr marL="0" indent="0" algn="ctr">
              <a:buNone/>
              <a:defRPr/>
            </a:lvl2pPr>
            <a:lvl3pPr marL="0" indent="0" algn="ctr">
              <a:buNone/>
              <a:defRPr/>
            </a:lvl3pPr>
            <a:lvl4pPr marL="0" indent="0" algn="ctr">
              <a:buNone/>
              <a:defRPr/>
            </a:lvl4pPr>
            <a:lvl5pPr marL="0" indent="0" algn="ctr">
              <a:buNone/>
              <a:defRPr/>
            </a:lvl5pPr>
          </a:lstStyle>
          <a:p>
            <a:pPr lvl="0"/>
            <a:r>
              <a:rPr lang="en-US"/>
              <a:t>Click to edit Master text styles</a:t>
            </a:r>
          </a:p>
        </p:txBody>
      </p:sp>
    </p:spTree>
    <p:extLst>
      <p:ext uri="{BB962C8B-B14F-4D97-AF65-F5344CB8AC3E}">
        <p14:creationId xmlns:p14="http://schemas.microsoft.com/office/powerpoint/2010/main" val="199816916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Full Content">
    <p:spTree>
      <p:nvGrpSpPr>
        <p:cNvPr id="1" name=""/>
        <p:cNvGrpSpPr/>
        <p:nvPr/>
      </p:nvGrpSpPr>
      <p:grpSpPr>
        <a:xfrm>
          <a:off x="0" y="0"/>
          <a:ext cx="0" cy="0"/>
          <a:chOff x="0" y="0"/>
          <a:chExt cx="0" cy="0"/>
        </a:xfrm>
      </p:grpSpPr>
      <p:sp>
        <p:nvSpPr>
          <p:cNvPr id="24" name="Shape 24"/>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hape 25"/>
          <p:cNvSpPr>
            <a:spLocks noGrp="1"/>
          </p:cNvSpPr>
          <p:nvPr>
            <p:ph type="title"/>
          </p:nvPr>
        </p:nvSpPr>
        <p:spPr>
          <a:prstGeom prst="rect">
            <a:avLst/>
          </a:prstGeom>
        </p:spPr>
        <p:txBody>
          <a:bodyPr/>
          <a:lstStyle/>
          <a:p>
            <a:r>
              <a:t>Title Text</a:t>
            </a:r>
          </a:p>
        </p:txBody>
      </p:sp>
      <p:sp>
        <p:nvSpPr>
          <p:cNvPr id="26" name="Shape 26"/>
          <p:cNvSpPr>
            <a:spLocks noGrp="1"/>
          </p:cNvSpPr>
          <p:nvPr>
            <p:ph type="body" sz="quarter" idx="13"/>
          </p:nvPr>
        </p:nvSpPr>
        <p:spPr>
          <a:xfrm>
            <a:off x="715789" y="4781789"/>
            <a:ext cx="1688777" cy="188914"/>
          </a:xfrm>
          <a:prstGeom prst="rect">
            <a:avLst/>
          </a:prstGeom>
        </p:spPr>
        <p:txBody>
          <a:bodyPr/>
          <a:lstStyle/>
          <a:p>
            <a:pPr defTabSz="365760">
              <a:spcBef>
                <a:spcPts val="0"/>
              </a:spcBef>
              <a:defRPr sz="240"/>
            </a:pPr>
            <a:endParaRPr/>
          </a:p>
        </p:txBody>
      </p:sp>
      <p:sp>
        <p:nvSpPr>
          <p:cNvPr id="27" name="Shape 27"/>
          <p:cNvSpPr>
            <a:spLocks noGrp="1"/>
          </p:cNvSpPr>
          <p:nvPr>
            <p:ph type="sldNum" sz="quarter" idx="2"/>
          </p:nvPr>
        </p:nvSpPr>
        <p:spPr>
          <a:prstGeom prst="rect">
            <a:avLst/>
          </a:prstGeom>
        </p:spPr>
        <p:txBody>
          <a:bodyPr/>
          <a:lstStyle/>
          <a:p>
            <a:fld id="{86CB4B4D-7CA3-9044-876B-883B54F8677D}" type="slidenum">
              <a:rPr>
                <a:solidFill>
                  <a:prstClr val="white">
                    <a:lumMod val="65000"/>
                  </a:prstClr>
                </a:solidFill>
              </a:rPr>
              <a:pPr/>
              <a:t>‹#›</a:t>
            </a:fld>
            <a:endParaRPr>
              <a:solidFill>
                <a:prstClr val="white">
                  <a:lumMod val="65000"/>
                </a:prstClr>
              </a:solidFill>
            </a:endParaRPr>
          </a:p>
        </p:txBody>
      </p:sp>
    </p:spTree>
    <p:extLst>
      <p:ext uri="{BB962C8B-B14F-4D97-AF65-F5344CB8AC3E}">
        <p14:creationId xmlns:p14="http://schemas.microsoft.com/office/powerpoint/2010/main" val="3356539182"/>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Text Placeholder 3">
            <a:extLst>
              <a:ext uri="{FF2B5EF4-FFF2-40B4-BE49-F238E27FC236}">
                <a16:creationId xmlns:a16="http://schemas.microsoft.com/office/drawing/2014/main" id="{216C9B00-AE8D-794E-887D-79A74467C9D1}"/>
              </a:ext>
            </a:extLst>
          </p:cNvPr>
          <p:cNvSpPr>
            <a:spLocks noGrp="1"/>
          </p:cNvSpPr>
          <p:nvPr>
            <p:ph type="body" sz="quarter" idx="10" hasCustomPrompt="1"/>
          </p:nvPr>
        </p:nvSpPr>
        <p:spPr>
          <a:xfrm>
            <a:off x="245098" y="2123259"/>
            <a:ext cx="2511164" cy="1678033"/>
          </a:xfrm>
        </p:spPr>
        <p:txBody>
          <a:bodyPr>
            <a:normAutofit/>
          </a:bodyPr>
          <a:lstStyle>
            <a:lvl1pPr marL="0" indent="0">
              <a:buNone/>
              <a:defRPr sz="30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Webinar title goes here</a:t>
            </a:r>
          </a:p>
        </p:txBody>
      </p:sp>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245098" y="1787762"/>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Azure Webinar Series</a:t>
            </a:r>
          </a:p>
        </p:txBody>
      </p:sp>
      <p:pic>
        <p:nvPicPr>
          <p:cNvPr id="7" name="Picture 6">
            <a:extLst>
              <a:ext uri="{FF2B5EF4-FFF2-40B4-BE49-F238E27FC236}">
                <a16:creationId xmlns:a16="http://schemas.microsoft.com/office/drawing/2014/main" id="{6DD92894-413E-7A4D-AE34-1FFAF37C3E69}"/>
              </a:ext>
            </a:extLst>
          </p:cNvPr>
          <p:cNvPicPr>
            <a:picLocks noChangeAspect="1"/>
          </p:cNvPicPr>
          <p:nvPr userDrawn="1"/>
        </p:nvPicPr>
        <p:blipFill>
          <a:blip r:embed="rId2"/>
          <a:stretch>
            <a:fillRect/>
          </a:stretch>
        </p:blipFill>
        <p:spPr>
          <a:xfrm>
            <a:off x="102988" y="66253"/>
            <a:ext cx="1988024" cy="656929"/>
          </a:xfrm>
          <a:prstGeom prst="rect">
            <a:avLst/>
          </a:prstGeom>
        </p:spPr>
      </p:pic>
    </p:spTree>
    <p:extLst>
      <p:ext uri="{BB962C8B-B14F-4D97-AF65-F5344CB8AC3E}">
        <p14:creationId xmlns:p14="http://schemas.microsoft.com/office/powerpoint/2010/main" val="32688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Welcome</a:t>
            </a:r>
          </a:p>
        </p:txBody>
      </p:sp>
      <p:sp>
        <p:nvSpPr>
          <p:cNvPr id="2" name="TextBox 1">
            <a:extLst>
              <a:ext uri="{FF2B5EF4-FFF2-40B4-BE49-F238E27FC236}">
                <a16:creationId xmlns:a16="http://schemas.microsoft.com/office/drawing/2014/main" id="{BFA62B1C-4EBA-8B46-AE7B-F5D23CE0D089}"/>
              </a:ext>
            </a:extLst>
          </p:cNvPr>
          <p:cNvSpPr txBox="1"/>
          <p:nvPr userDrawn="1"/>
        </p:nvSpPr>
        <p:spPr>
          <a:xfrm>
            <a:off x="274321" y="1330149"/>
            <a:ext cx="8543108" cy="276999"/>
          </a:xfrm>
          <a:prstGeom prst="rect">
            <a:avLst/>
          </a:prstGeom>
        </p:spPr>
        <p:txBody>
          <a:bodyPr vert="horz" lIns="68580" tIns="34290" rIns="68580" bIns="3429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500">
                <a:solidFill>
                  <a:schemeClr val="accent1"/>
                </a:solidFill>
              </a:rPr>
              <a:t>How do I ask a question?</a:t>
            </a:r>
          </a:p>
        </p:txBody>
      </p:sp>
      <p:sp>
        <p:nvSpPr>
          <p:cNvPr id="3" name="Rectangle 2">
            <a:extLst>
              <a:ext uri="{FF2B5EF4-FFF2-40B4-BE49-F238E27FC236}">
                <a16:creationId xmlns:a16="http://schemas.microsoft.com/office/drawing/2014/main" id="{861D8750-2D4C-4F4B-AE39-DCEDBD8C83D5}"/>
              </a:ext>
            </a:extLst>
          </p:cNvPr>
          <p:cNvSpPr/>
          <p:nvPr userDrawn="1"/>
        </p:nvSpPr>
        <p:spPr>
          <a:xfrm>
            <a:off x="274320" y="1635533"/>
            <a:ext cx="8543108" cy="780983"/>
          </a:xfrm>
          <a:prstGeom prst="rect">
            <a:avLst/>
          </a:prstGeom>
        </p:spPr>
        <p:txBody>
          <a:bodyPr vert="horz" lIns="68580" tIns="34290" rIns="68580" bIns="34290" rtlCol="0">
            <a:normAutofit/>
          </a:bodyPr>
          <a:lstStyle/>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If you have a technical or content-related question, please use the Q&amp;A window</a:t>
            </a:r>
          </a:p>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We will address the questions as they come in</a:t>
            </a:r>
          </a:p>
        </p:txBody>
      </p:sp>
      <p:sp>
        <p:nvSpPr>
          <p:cNvPr id="16" name="TextBox 15">
            <a:extLst>
              <a:ext uri="{FF2B5EF4-FFF2-40B4-BE49-F238E27FC236}">
                <a16:creationId xmlns:a16="http://schemas.microsoft.com/office/drawing/2014/main" id="{883AC189-90CA-6B48-8849-4251AC460C48}"/>
              </a:ext>
            </a:extLst>
          </p:cNvPr>
          <p:cNvSpPr txBox="1"/>
          <p:nvPr userDrawn="1"/>
        </p:nvSpPr>
        <p:spPr>
          <a:xfrm>
            <a:off x="274321" y="2923033"/>
            <a:ext cx="8543108" cy="276999"/>
          </a:xfrm>
          <a:prstGeom prst="rect">
            <a:avLst/>
          </a:prstGeom>
        </p:spPr>
        <p:txBody>
          <a:bodyPr vert="horz" lIns="68580" tIns="34290" rIns="68580" bIns="34290" rtlCol="0">
            <a:normAutofit/>
          </a:bodyPr>
          <a:lstStyle>
            <a:lvl1pPr lvl="0" indent="0">
              <a:lnSpc>
                <a:spcPct val="90000"/>
              </a:lnSpc>
              <a:spcBef>
                <a:spcPts val="1000"/>
              </a:spcBef>
              <a:buFont typeface="Arial" panose="020B0604020202020204" pitchFamily="34" charset="0"/>
              <a:buNone/>
              <a:defRPr sz="2000" b="1" i="0">
                <a:solidFill>
                  <a:schemeClr val="accent3"/>
                </a:solidFill>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indent="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4pPr>
            <a:lvl5pPr indent="0">
              <a:lnSpc>
                <a:spcPct val="90000"/>
              </a:lnSpc>
              <a:spcBef>
                <a:spcPts val="500"/>
              </a:spcBef>
              <a:buFont typeface="Arial" panose="020B0604020202020204" pitchFamily="34" charset="0"/>
              <a:buNone/>
              <a:defRPr>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500">
                <a:solidFill>
                  <a:schemeClr val="accent1"/>
                </a:solidFill>
              </a:rPr>
              <a:t>Can I view this presentation after the webinar?</a:t>
            </a:r>
          </a:p>
        </p:txBody>
      </p:sp>
      <p:sp>
        <p:nvSpPr>
          <p:cNvPr id="17" name="Rectangle 16">
            <a:extLst>
              <a:ext uri="{FF2B5EF4-FFF2-40B4-BE49-F238E27FC236}">
                <a16:creationId xmlns:a16="http://schemas.microsoft.com/office/drawing/2014/main" id="{B79E4DDD-3158-594B-837F-FB6B87AFAFE1}"/>
              </a:ext>
            </a:extLst>
          </p:cNvPr>
          <p:cNvSpPr/>
          <p:nvPr userDrawn="1"/>
        </p:nvSpPr>
        <p:spPr>
          <a:xfrm>
            <a:off x="274320" y="3228417"/>
            <a:ext cx="8543108" cy="780983"/>
          </a:xfrm>
          <a:prstGeom prst="rect">
            <a:avLst/>
          </a:prstGeom>
        </p:spPr>
        <p:txBody>
          <a:bodyPr vert="horz" lIns="68580" tIns="34290" rIns="68580" bIns="34290" rtlCol="0">
            <a:normAutofit/>
          </a:bodyPr>
          <a:lstStyle/>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Yes, this presentation is being recorded</a:t>
            </a:r>
          </a:p>
          <a:p>
            <a:pPr lvl="0" indent="0">
              <a:lnSpc>
                <a:spcPct val="150000"/>
              </a:lnSpc>
              <a:spcBef>
                <a:spcPts val="750"/>
              </a:spcBef>
              <a:buFont typeface="Arial" panose="020B0604020202020204" pitchFamily="34" charset="0"/>
              <a:buNone/>
            </a:pPr>
            <a:r>
              <a:rPr lang="en-US" sz="1200">
                <a:solidFill>
                  <a:schemeClr val="accent4"/>
                </a:solidFill>
                <a:latin typeface="Segoe UI" panose="020B0502040204020203" pitchFamily="34" charset="0"/>
                <a:cs typeface="Segoe UI" panose="020B0502040204020203" pitchFamily="34" charset="0"/>
              </a:rPr>
              <a:t>A link to the recorded presentation will be sent to the email address you used to register</a:t>
            </a:r>
          </a:p>
        </p:txBody>
      </p:sp>
      <p:pic>
        <p:nvPicPr>
          <p:cNvPr id="9" name="Picture 8">
            <a:extLst>
              <a:ext uri="{FF2B5EF4-FFF2-40B4-BE49-F238E27FC236}">
                <a16:creationId xmlns:a16="http://schemas.microsoft.com/office/drawing/2014/main" id="{65972E79-DC3D-C14A-937B-FE96B1FE6366}"/>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85465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Meet our speaker(s)</a:t>
            </a:r>
          </a:p>
        </p:txBody>
      </p:sp>
      <p:sp>
        <p:nvSpPr>
          <p:cNvPr id="8" name="Text Placeholder 3">
            <a:extLst>
              <a:ext uri="{FF2B5EF4-FFF2-40B4-BE49-F238E27FC236}">
                <a16:creationId xmlns:a16="http://schemas.microsoft.com/office/drawing/2014/main" id="{140D714A-1B69-484F-BEA6-31A7B8AEA03F}"/>
              </a:ext>
            </a:extLst>
          </p:cNvPr>
          <p:cNvSpPr>
            <a:spLocks noGrp="1"/>
          </p:cNvSpPr>
          <p:nvPr>
            <p:ph type="body" sz="quarter" idx="11" hasCustomPrompt="1"/>
          </p:nvPr>
        </p:nvSpPr>
        <p:spPr>
          <a:xfrm>
            <a:off x="1899721" y="2452735"/>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Name</a:t>
            </a:r>
          </a:p>
        </p:txBody>
      </p:sp>
      <p:sp>
        <p:nvSpPr>
          <p:cNvPr id="9" name="Text Placeholder 3">
            <a:extLst>
              <a:ext uri="{FF2B5EF4-FFF2-40B4-BE49-F238E27FC236}">
                <a16:creationId xmlns:a16="http://schemas.microsoft.com/office/drawing/2014/main" id="{AB5FD720-4ED3-CC4C-9250-5B0C4AFCA190}"/>
              </a:ext>
            </a:extLst>
          </p:cNvPr>
          <p:cNvSpPr>
            <a:spLocks noGrp="1"/>
          </p:cNvSpPr>
          <p:nvPr>
            <p:ph type="body" sz="quarter" idx="13" hasCustomPrompt="1"/>
          </p:nvPr>
        </p:nvSpPr>
        <p:spPr>
          <a:xfrm>
            <a:off x="1899721" y="2759848"/>
            <a:ext cx="2511164" cy="243377"/>
          </a:xfrm>
        </p:spPr>
        <p:txBody>
          <a:bodyPr>
            <a:normAutofit/>
          </a:bodyPr>
          <a:lstStyle>
            <a:lvl1pPr marL="0" indent="0">
              <a:buNone/>
              <a:defRPr sz="1200" b="0" i="0">
                <a:solidFill>
                  <a:schemeClr val="accent3"/>
                </a:solidFill>
                <a:latin typeface="Segoe UI" panose="020B0502040204020203" pitchFamily="34" charset="0"/>
                <a:cs typeface="Segoe UI"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title</a:t>
            </a:r>
          </a:p>
        </p:txBody>
      </p:sp>
      <p:sp>
        <p:nvSpPr>
          <p:cNvPr id="10" name="Text Placeholder 3">
            <a:extLst>
              <a:ext uri="{FF2B5EF4-FFF2-40B4-BE49-F238E27FC236}">
                <a16:creationId xmlns:a16="http://schemas.microsoft.com/office/drawing/2014/main" id="{515E1B09-9595-4E43-A6BD-C8F1743281ED}"/>
              </a:ext>
            </a:extLst>
          </p:cNvPr>
          <p:cNvSpPr>
            <a:spLocks noGrp="1"/>
          </p:cNvSpPr>
          <p:nvPr>
            <p:ph type="body" sz="quarter" idx="14" hasCustomPrompt="1"/>
          </p:nvPr>
        </p:nvSpPr>
        <p:spPr>
          <a:xfrm>
            <a:off x="5881722" y="2452735"/>
            <a:ext cx="2511164" cy="307113"/>
          </a:xfrm>
        </p:spPr>
        <p:txBody>
          <a:bodyPr>
            <a:normAutofit/>
          </a:bodyPr>
          <a:lstStyle>
            <a:lvl1pPr marL="0" indent="0">
              <a:buNone/>
              <a:defRPr sz="1500" b="1" i="0">
                <a:solidFill>
                  <a:schemeClr val="accent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Name</a:t>
            </a:r>
          </a:p>
        </p:txBody>
      </p:sp>
      <p:sp>
        <p:nvSpPr>
          <p:cNvPr id="11" name="Text Placeholder 3">
            <a:extLst>
              <a:ext uri="{FF2B5EF4-FFF2-40B4-BE49-F238E27FC236}">
                <a16:creationId xmlns:a16="http://schemas.microsoft.com/office/drawing/2014/main" id="{3B83C953-65EC-1A4E-A1FF-133FFC9A871E}"/>
              </a:ext>
            </a:extLst>
          </p:cNvPr>
          <p:cNvSpPr>
            <a:spLocks noGrp="1"/>
          </p:cNvSpPr>
          <p:nvPr>
            <p:ph type="body" sz="quarter" idx="15" hasCustomPrompt="1"/>
          </p:nvPr>
        </p:nvSpPr>
        <p:spPr>
          <a:xfrm>
            <a:off x="5881722" y="2759848"/>
            <a:ext cx="2511164" cy="243377"/>
          </a:xfrm>
        </p:spPr>
        <p:txBody>
          <a:bodyPr>
            <a:normAutofit/>
          </a:bodyPr>
          <a:lstStyle>
            <a:lvl1pPr marL="0" indent="0">
              <a:buNone/>
              <a:defRPr sz="1200" b="0" i="0">
                <a:solidFill>
                  <a:schemeClr val="accent3"/>
                </a:solidFill>
                <a:latin typeface="Segoe UI" panose="020B0502040204020203" pitchFamily="34" charset="0"/>
                <a:cs typeface="Segoe UI"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peaker title</a:t>
            </a:r>
          </a:p>
        </p:txBody>
      </p:sp>
      <p:pic>
        <p:nvPicPr>
          <p:cNvPr id="13" name="Picture 12">
            <a:extLst>
              <a:ext uri="{FF2B5EF4-FFF2-40B4-BE49-F238E27FC236}">
                <a16:creationId xmlns:a16="http://schemas.microsoft.com/office/drawing/2014/main" id="{7943DACA-B04C-4AC9-9477-8B0D77135C98}"/>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83562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055550"/>
            <a:ext cx="9144000" cy="713776"/>
          </a:xfrm>
        </p:spPr>
        <p:txBody>
          <a:bodyPr>
            <a:noAutofit/>
          </a:bodyPr>
          <a:lstStyle>
            <a:lvl1pPr marL="0" indent="0" algn="ctr">
              <a:buNone/>
              <a:defRPr sz="4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pic>
        <p:nvPicPr>
          <p:cNvPr id="5" name="Picture 4">
            <a:extLst>
              <a:ext uri="{FF2B5EF4-FFF2-40B4-BE49-F238E27FC236}">
                <a16:creationId xmlns:a16="http://schemas.microsoft.com/office/drawing/2014/main" id="{284FF593-5428-7E45-83E3-F1100F77AE5F}"/>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11460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2C946CA4-1BD3-8B4B-A389-DD7D8870B203}"/>
              </a:ext>
            </a:extLst>
          </p:cNvPr>
          <p:cNvSpPr>
            <a:spLocks noGrp="1"/>
          </p:cNvSpPr>
          <p:nvPr>
            <p:ph type="body" sz="quarter" idx="11" hasCustomPrompt="1"/>
          </p:nvPr>
        </p:nvSpPr>
        <p:spPr>
          <a:xfrm>
            <a:off x="0" y="2055550"/>
            <a:ext cx="9144000" cy="713776"/>
          </a:xfrm>
        </p:spPr>
        <p:txBody>
          <a:bodyPr>
            <a:noAutofit/>
          </a:bodyPr>
          <a:lstStyle>
            <a:lvl1pPr marL="0" indent="0" algn="ctr">
              <a:buNone/>
              <a:defRPr sz="4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sp>
        <p:nvSpPr>
          <p:cNvPr id="4" name="Text Placeholder 3">
            <a:extLst>
              <a:ext uri="{FF2B5EF4-FFF2-40B4-BE49-F238E27FC236}">
                <a16:creationId xmlns:a16="http://schemas.microsoft.com/office/drawing/2014/main" id="{8D24B31F-2B5E-7841-A03C-CBF7A4256763}"/>
              </a:ext>
            </a:extLst>
          </p:cNvPr>
          <p:cNvSpPr>
            <a:spLocks noGrp="1"/>
          </p:cNvSpPr>
          <p:nvPr>
            <p:ph type="body" sz="quarter" idx="12" hasCustomPrompt="1"/>
          </p:nvPr>
        </p:nvSpPr>
        <p:spPr>
          <a:xfrm>
            <a:off x="0" y="2769326"/>
            <a:ext cx="9144000" cy="293915"/>
          </a:xfrm>
        </p:spPr>
        <p:txBody>
          <a:bodyPr>
            <a:noAutofit/>
          </a:bodyPr>
          <a:lstStyle>
            <a:lvl1pPr marL="0" indent="0" algn="ctr">
              <a:buNone/>
              <a:defRPr sz="1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scription goes here</a:t>
            </a:r>
          </a:p>
        </p:txBody>
      </p:sp>
      <p:pic>
        <p:nvPicPr>
          <p:cNvPr id="5" name="Picture 4">
            <a:extLst>
              <a:ext uri="{FF2B5EF4-FFF2-40B4-BE49-F238E27FC236}">
                <a16:creationId xmlns:a16="http://schemas.microsoft.com/office/drawing/2014/main" id="{7819FAAA-BAFF-A047-8189-8B4C63F4B2C2}"/>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04959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1897734"/>
            <a:ext cx="4036423" cy="1348033"/>
          </a:xfrm>
        </p:spPr>
        <p:txBody>
          <a:bodyPr anchor="ctr" anchorCtr="0">
            <a:noAutofit/>
          </a:bodyPr>
          <a:lstStyle>
            <a:lvl1pPr marL="0" indent="0" algn="l">
              <a:buNone/>
              <a:defRPr sz="45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pic>
        <p:nvPicPr>
          <p:cNvPr id="5" name="Picture 4">
            <a:extLst>
              <a:ext uri="{FF2B5EF4-FFF2-40B4-BE49-F238E27FC236}">
                <a16:creationId xmlns:a16="http://schemas.microsoft.com/office/drawing/2014/main" id="{8BE3CA92-09E7-8848-9568-4478F72561D6}"/>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40493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1147682"/>
            <a:ext cx="4036423" cy="1556330"/>
          </a:xfrm>
        </p:spPr>
        <p:txBody>
          <a:bodyPr anchor="b" anchorCtr="0">
            <a:noAutofit/>
          </a:bodyPr>
          <a:lstStyle>
            <a:lvl1pPr marL="0" indent="0" algn="l">
              <a:buNone/>
              <a:defRPr sz="45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ection title goes here</a:t>
            </a:r>
          </a:p>
        </p:txBody>
      </p:sp>
      <p:sp>
        <p:nvSpPr>
          <p:cNvPr id="7" name="Text Placeholder 3">
            <a:extLst>
              <a:ext uri="{FF2B5EF4-FFF2-40B4-BE49-F238E27FC236}">
                <a16:creationId xmlns:a16="http://schemas.microsoft.com/office/drawing/2014/main" id="{1B3FBE8B-E0E6-8941-BE06-9BB9E0562EC4}"/>
              </a:ext>
            </a:extLst>
          </p:cNvPr>
          <p:cNvSpPr>
            <a:spLocks noGrp="1"/>
          </p:cNvSpPr>
          <p:nvPr>
            <p:ph type="body" sz="quarter" idx="12" hasCustomPrompt="1"/>
          </p:nvPr>
        </p:nvSpPr>
        <p:spPr>
          <a:xfrm>
            <a:off x="274320" y="2769325"/>
            <a:ext cx="4036423" cy="1352006"/>
          </a:xfrm>
        </p:spPr>
        <p:txBody>
          <a:bodyPr>
            <a:noAutofit/>
          </a:bodyPr>
          <a:lstStyle>
            <a:lvl1pPr marL="0" indent="0" algn="l">
              <a:buNone/>
              <a:defRPr sz="3000" b="1" i="0" spc="0">
                <a:solidFill>
                  <a:schemeClr val="tx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scription goes here</a:t>
            </a:r>
          </a:p>
        </p:txBody>
      </p:sp>
      <p:pic>
        <p:nvPicPr>
          <p:cNvPr id="9" name="Picture 8">
            <a:extLst>
              <a:ext uri="{FF2B5EF4-FFF2-40B4-BE49-F238E27FC236}">
                <a16:creationId xmlns:a16="http://schemas.microsoft.com/office/drawing/2014/main" id="{FE54D519-455D-A347-8A4B-06EF61D7FDB3}"/>
              </a:ext>
            </a:extLst>
          </p:cNvPr>
          <p:cNvPicPr>
            <a:picLocks noChangeAspect="1"/>
          </p:cNvPicPr>
          <p:nvPr userDrawn="1"/>
        </p:nvPicPr>
        <p:blipFill>
          <a:blip r:embed="rId2"/>
          <a:stretch>
            <a:fillRect/>
          </a:stretch>
        </p:blipFill>
        <p:spPr>
          <a:xfrm>
            <a:off x="7939822" y="4759890"/>
            <a:ext cx="1133420" cy="374407"/>
          </a:xfrm>
          <a:prstGeom prst="rect">
            <a:avLst/>
          </a:prstGeom>
        </p:spPr>
      </p:pic>
    </p:spTree>
    <p:extLst>
      <p:ext uri="{BB962C8B-B14F-4D97-AF65-F5344CB8AC3E}">
        <p14:creationId xmlns:p14="http://schemas.microsoft.com/office/powerpoint/2010/main" val="154603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312473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6" name="Picture 5">
            <a:extLst>
              <a:ext uri="{FF2B5EF4-FFF2-40B4-BE49-F238E27FC236}">
                <a16:creationId xmlns:a16="http://schemas.microsoft.com/office/drawing/2014/main" id="{71F5E11E-936B-43E2-904B-13325C5A45D7}"/>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0710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pic>
        <p:nvPicPr>
          <p:cNvPr id="6" name="Picture 5">
            <a:extLst>
              <a:ext uri="{FF2B5EF4-FFF2-40B4-BE49-F238E27FC236}">
                <a16:creationId xmlns:a16="http://schemas.microsoft.com/office/drawing/2014/main" id="{B5DA8AF3-53B9-499E-AC06-9D486C3F17A0}"/>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364430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CA5CA216-86B9-9348-9379-7E8F2E1B6F3B}"/>
              </a:ext>
            </a:extLst>
          </p:cNvPr>
          <p:cNvSpPr>
            <a:spLocks noGrp="1"/>
          </p:cNvSpPr>
          <p:nvPr>
            <p:ph type="body" sz="quarter" idx="12" hasCustomPrompt="1"/>
          </p:nvPr>
        </p:nvSpPr>
        <p:spPr>
          <a:xfrm>
            <a:off x="274321" y="306977"/>
            <a:ext cx="2455817" cy="94705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7" name="Text Placeholder 3">
            <a:extLst>
              <a:ext uri="{FF2B5EF4-FFF2-40B4-BE49-F238E27FC236}">
                <a16:creationId xmlns:a16="http://schemas.microsoft.com/office/drawing/2014/main" id="{B73BACFF-2839-5B48-A4E3-47D34B28E568}"/>
              </a:ext>
            </a:extLst>
          </p:cNvPr>
          <p:cNvSpPr>
            <a:spLocks noGrp="1"/>
          </p:cNvSpPr>
          <p:nvPr>
            <p:ph type="body" sz="quarter" idx="10" hasCustomPrompt="1"/>
          </p:nvPr>
        </p:nvSpPr>
        <p:spPr>
          <a:xfrm>
            <a:off x="3422469" y="642474"/>
            <a:ext cx="5388428" cy="3975247"/>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8" name="Text Placeholder 3">
            <a:extLst>
              <a:ext uri="{FF2B5EF4-FFF2-40B4-BE49-F238E27FC236}">
                <a16:creationId xmlns:a16="http://schemas.microsoft.com/office/drawing/2014/main" id="{77C152B6-635D-A242-99C5-617492527360}"/>
              </a:ext>
            </a:extLst>
          </p:cNvPr>
          <p:cNvSpPr>
            <a:spLocks noGrp="1"/>
          </p:cNvSpPr>
          <p:nvPr>
            <p:ph type="body" sz="quarter" idx="11" hasCustomPrompt="1"/>
          </p:nvPr>
        </p:nvSpPr>
        <p:spPr>
          <a:xfrm>
            <a:off x="3422469" y="306977"/>
            <a:ext cx="538842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pic>
        <p:nvPicPr>
          <p:cNvPr id="9" name="Picture 8">
            <a:extLst>
              <a:ext uri="{FF2B5EF4-FFF2-40B4-BE49-F238E27FC236}">
                <a16:creationId xmlns:a16="http://schemas.microsoft.com/office/drawing/2014/main" id="{4DD92294-9D94-4CF1-8CA6-23B2C39612D3}"/>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415328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5_Cover">
    <p:spTree>
      <p:nvGrpSpPr>
        <p:cNvPr id="1" name=""/>
        <p:cNvGrpSpPr/>
        <p:nvPr/>
      </p:nvGrpSpPr>
      <p:grpSpPr>
        <a:xfrm>
          <a:off x="0" y="0"/>
          <a:ext cx="0" cy="0"/>
          <a:chOff x="0" y="0"/>
          <a:chExt cx="0" cy="0"/>
        </a:xfrm>
      </p:grpSpPr>
      <p:pic>
        <p:nvPicPr>
          <p:cNvPr id="12" name="shutterstock_191666906.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77514" y="340651"/>
            <a:ext cx="8574485" cy="4061766"/>
          </a:xfrm>
          <a:prstGeom prst="rect">
            <a:avLst/>
          </a:prstGeom>
          <a:ln w="12700">
            <a:miter lim="400000"/>
          </a:ln>
        </p:spPr>
      </p:pic>
      <p:sp>
        <p:nvSpPr>
          <p:cNvPr id="13" name="Shape 13"/>
          <p:cNvSpPr/>
          <p:nvPr/>
        </p:nvSpPr>
        <p:spPr>
          <a:xfrm>
            <a:off x="280987" y="1119187"/>
            <a:ext cx="2517776" cy="2508251"/>
          </a:xfrm>
          <a:prstGeom prst="rect">
            <a:avLst/>
          </a:prstGeom>
          <a:solidFill>
            <a:srgbClr val="DB022A"/>
          </a:solidFill>
          <a:ln w="12700">
            <a:miter lim="400000"/>
          </a:ln>
        </p:spPr>
        <p:txBody>
          <a:bodyPr lIns="45719" rIns="45719" anchor="ctr"/>
          <a:lstStyle/>
          <a:p>
            <a:pPr algn="ctr" defTabSz="457200" hangingPunct="1">
              <a:defRPr sz="1800">
                <a:solidFill>
                  <a:srgbClr val="74C6C8"/>
                </a:solidFill>
                <a:latin typeface="Calibri"/>
                <a:ea typeface="Calibri"/>
                <a:cs typeface="Calibri"/>
                <a:sym typeface="Calibri"/>
              </a:defRPr>
            </a:pPr>
            <a:endParaRPr sz="1800" kern="1200">
              <a:solidFill>
                <a:srgbClr val="74C6C8"/>
              </a:solidFill>
              <a:latin typeface="Calibri"/>
              <a:ea typeface="Calibri"/>
              <a:cs typeface="Calibri"/>
              <a:sym typeface="Calibri"/>
            </a:endParaRPr>
          </a:p>
        </p:txBody>
      </p:sp>
      <p:pic>
        <p:nvPicPr>
          <p:cNvPr id="14" name="image00.png"/>
          <p:cNvPicPr>
            <a:picLocks noChangeAspect="1"/>
          </p:cNvPicPr>
          <p:nvPr/>
        </p:nvPicPr>
        <p:blipFill>
          <a:blip r:embed="rId3"/>
          <a:stretch>
            <a:fillRect/>
          </a:stretch>
        </p:blipFill>
        <p:spPr>
          <a:xfrm>
            <a:off x="8035180" y="4550747"/>
            <a:ext cx="831008" cy="378440"/>
          </a:xfrm>
          <a:prstGeom prst="rect">
            <a:avLst/>
          </a:prstGeom>
          <a:ln w="12700">
            <a:miter lim="400000"/>
          </a:ln>
        </p:spPr>
      </p:pic>
      <p:sp>
        <p:nvSpPr>
          <p:cNvPr id="15" name="Shape 15"/>
          <p:cNvSpPr>
            <a:spLocks noGrp="1"/>
          </p:cNvSpPr>
          <p:nvPr>
            <p:ph type="title"/>
          </p:nvPr>
        </p:nvSpPr>
        <p:spPr>
          <a:xfrm>
            <a:off x="526658" y="1323769"/>
            <a:ext cx="1958645" cy="1100916"/>
          </a:xfrm>
          <a:prstGeom prst="rect">
            <a:avLst/>
          </a:prstGeom>
        </p:spPr>
        <p:txBody>
          <a:bodyPr/>
          <a:lstStyle>
            <a:lvl1pPr>
              <a:lnSpc>
                <a:spcPct val="144444"/>
              </a:lnSpc>
              <a:defRPr sz="1800">
                <a:solidFill>
                  <a:srgbClr val="FFFFFF"/>
                </a:solidFill>
              </a:defRPr>
            </a:lvl1pPr>
          </a:lstStyle>
          <a:p>
            <a:r>
              <a:t>Title Text</a:t>
            </a:r>
          </a:p>
        </p:txBody>
      </p:sp>
      <p:sp>
        <p:nvSpPr>
          <p:cNvPr id="16" name="Shape 16"/>
          <p:cNvSpPr>
            <a:spLocks noGrp="1"/>
          </p:cNvSpPr>
          <p:nvPr>
            <p:ph type="body" sz="quarter" idx="1"/>
          </p:nvPr>
        </p:nvSpPr>
        <p:spPr>
          <a:xfrm>
            <a:off x="519112" y="3175593"/>
            <a:ext cx="1966191" cy="318927"/>
          </a:xfrm>
          <a:prstGeom prst="rect">
            <a:avLst/>
          </a:prstGeom>
        </p:spPr>
        <p:txBody>
          <a:bodyPr/>
          <a:lstStyle>
            <a:lvl1pPr>
              <a:spcBef>
                <a:spcPts val="0"/>
              </a:spcBef>
              <a:defRPr sz="1000">
                <a:solidFill>
                  <a:srgbClr val="FFFFFF"/>
                </a:solidFill>
              </a:defRPr>
            </a:lvl1pPr>
            <a:lvl2pPr marL="0" indent="457200">
              <a:spcBef>
                <a:spcPts val="0"/>
              </a:spcBef>
              <a:buSzTx/>
              <a:buNone/>
              <a:defRPr sz="1000">
                <a:solidFill>
                  <a:srgbClr val="FFFFFF"/>
                </a:solidFill>
              </a:defRPr>
            </a:lvl2pPr>
            <a:lvl3pPr marL="0" indent="914400">
              <a:spcBef>
                <a:spcPts val="0"/>
              </a:spcBef>
              <a:buSzTx/>
              <a:buNone/>
              <a:defRPr sz="1000">
                <a:solidFill>
                  <a:srgbClr val="FFFFFF"/>
                </a:solidFill>
              </a:defRPr>
            </a:lvl3pPr>
            <a:lvl4pPr marL="0" indent="1371600">
              <a:spcBef>
                <a:spcPts val="0"/>
              </a:spcBef>
              <a:buSzTx/>
              <a:buNone/>
              <a:defRPr sz="1000">
                <a:solidFill>
                  <a:srgbClr val="FFFFFF"/>
                </a:solidFill>
              </a:defRPr>
            </a:lvl4pPr>
            <a:lvl5pPr marL="0" indent="1828800">
              <a:spcBef>
                <a:spcPts val="0"/>
              </a:spcBef>
              <a:buSzTx/>
              <a:buNone/>
              <a:defRPr sz="10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7" name="Shape 17"/>
          <p:cNvSpPr>
            <a:spLocks noGrp="1"/>
          </p:cNvSpPr>
          <p:nvPr>
            <p:ph type="sldNum" sz="quarter" idx="2"/>
          </p:nvPr>
        </p:nvSpPr>
        <p:spPr>
          <a:xfrm>
            <a:off x="4419600" y="4608064"/>
            <a:ext cx="2133600" cy="318397"/>
          </a:xfrm>
          <a:prstGeom prst="rect">
            <a:avLst/>
          </a:prstGeom>
        </p:spPr>
        <p:txBody>
          <a:bodyPr lIns="91424" tIns="91424" rIns="91424" bIns="91424"/>
          <a:lstStyle>
            <a:lvl1pPr algn="r">
              <a:defRPr sz="1000" b="0">
                <a:solidFill>
                  <a:schemeClr val="accent2">
                    <a:lumOff val="21764"/>
                  </a:schemeClr>
                </a:solidFill>
                <a:latin typeface="Arial"/>
                <a:ea typeface="Arial"/>
                <a:cs typeface="Arial"/>
                <a:sym typeface="Arial"/>
              </a:defRPr>
            </a:lvl1pPr>
          </a:lstStyle>
          <a:p>
            <a:fld id="{86CB4B4D-7CA3-9044-876B-883B54F8677D}" type="slidenum">
              <a:rPr>
                <a:solidFill>
                  <a:srgbClr val="009483">
                    <a:lumOff val="21764"/>
                  </a:srgbClr>
                </a:solidFill>
              </a:rPr>
              <a:pPr/>
              <a:t>‹#›</a:t>
            </a:fld>
            <a:endParaRPr>
              <a:solidFill>
                <a:srgbClr val="009483">
                  <a:lumOff val="21764"/>
                </a:srgbClr>
              </a:solidFill>
            </a:endParaRPr>
          </a:p>
        </p:txBody>
      </p:sp>
    </p:spTree>
    <p:extLst>
      <p:ext uri="{BB962C8B-B14F-4D97-AF65-F5344CB8AC3E}">
        <p14:creationId xmlns:p14="http://schemas.microsoft.com/office/powerpoint/2010/main" val="3770884449"/>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7"/>
            <a:ext cx="3553097" cy="868681"/>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659527"/>
            <a:ext cx="3553097" cy="2971256"/>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324030"/>
            <a:ext cx="3553097"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title goes here</a:t>
            </a:r>
          </a:p>
        </p:txBody>
      </p:sp>
      <p:sp>
        <p:nvSpPr>
          <p:cNvPr id="3" name="Picture Placeholder 2">
            <a:extLst>
              <a:ext uri="{FF2B5EF4-FFF2-40B4-BE49-F238E27FC236}">
                <a16:creationId xmlns:a16="http://schemas.microsoft.com/office/drawing/2014/main" id="{CB4E77CC-6E19-1E49-94DC-686198ADF1DA}"/>
              </a:ext>
            </a:extLst>
          </p:cNvPr>
          <p:cNvSpPr>
            <a:spLocks noGrp="1"/>
          </p:cNvSpPr>
          <p:nvPr>
            <p:ph type="pic" sz="quarter" idx="13" hasCustomPrompt="1"/>
          </p:nvPr>
        </p:nvSpPr>
        <p:spPr>
          <a:xfrm>
            <a:off x="4004073" y="307182"/>
            <a:ext cx="4858940" cy="4323160"/>
          </a:xfrm>
          <a:solidFill>
            <a:schemeClr val="accent1"/>
          </a:solidFill>
        </p:spPr>
        <p:txBody>
          <a:bodyPr anchor="ctr" anchorCtr="0">
            <a:normAutofit/>
          </a:bodyPr>
          <a:lstStyle>
            <a:lvl1pPr marL="0" indent="0" algn="ctr">
              <a:buNone/>
              <a:defRPr sz="900">
                <a:solidFill>
                  <a:schemeClr val="bg1"/>
                </a:solidFill>
              </a:defRPr>
            </a:lvl1pPr>
          </a:lstStyle>
          <a:p>
            <a:r>
              <a:rPr lang="en-US"/>
              <a:t>Place image / graph here</a:t>
            </a:r>
          </a:p>
        </p:txBody>
      </p:sp>
      <p:pic>
        <p:nvPicPr>
          <p:cNvPr id="11" name="Picture 10">
            <a:extLst>
              <a:ext uri="{FF2B5EF4-FFF2-40B4-BE49-F238E27FC236}">
                <a16:creationId xmlns:a16="http://schemas.microsoft.com/office/drawing/2014/main" id="{C9A6B4B9-7B54-42B8-805E-2F2BB17DC1FE}"/>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24830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ection Title 4">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Text Placeholder 3">
            <a:extLst>
              <a:ext uri="{FF2B5EF4-FFF2-40B4-BE49-F238E27FC236}">
                <a16:creationId xmlns:a16="http://schemas.microsoft.com/office/drawing/2014/main" id="{598990E6-A29A-394A-9175-F210448EC810}"/>
              </a:ext>
            </a:extLst>
          </p:cNvPr>
          <p:cNvSpPr>
            <a:spLocks noGrp="1"/>
          </p:cNvSpPr>
          <p:nvPr>
            <p:ph type="body" sz="quarter" idx="11" hasCustomPrompt="1"/>
          </p:nvPr>
        </p:nvSpPr>
        <p:spPr>
          <a:xfrm>
            <a:off x="274320" y="306977"/>
            <a:ext cx="4036423" cy="489858"/>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10" name="Text Placeholder 3">
            <a:extLst>
              <a:ext uri="{FF2B5EF4-FFF2-40B4-BE49-F238E27FC236}">
                <a16:creationId xmlns:a16="http://schemas.microsoft.com/office/drawing/2014/main" id="{3C7D1685-53C9-1E43-9E10-C3FCF9F02971}"/>
              </a:ext>
            </a:extLst>
          </p:cNvPr>
          <p:cNvSpPr>
            <a:spLocks noGrp="1"/>
          </p:cNvSpPr>
          <p:nvPr>
            <p:ph type="body" sz="quarter" idx="10" hasCustomPrompt="1"/>
          </p:nvPr>
        </p:nvSpPr>
        <p:spPr>
          <a:xfrm>
            <a:off x="274320" y="907869"/>
            <a:ext cx="4036423" cy="3997235"/>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5295333" y="306977"/>
            <a:ext cx="3285002" cy="4323160"/>
          </a:xfrm>
          <a:noFill/>
        </p:spPr>
        <p:txBody>
          <a:bodyPr anchor="ctr" anchorCtr="0">
            <a:normAutofit/>
          </a:bodyPr>
          <a:lstStyle>
            <a:lvl1pPr marL="0" indent="0" algn="ctr">
              <a:buNone/>
              <a:defRPr sz="900">
                <a:solidFill>
                  <a:schemeClr val="accent4"/>
                </a:solidFill>
              </a:defRPr>
            </a:lvl1pPr>
          </a:lstStyle>
          <a:p>
            <a:r>
              <a:rPr lang="en-US"/>
              <a:t>Place logos / image / graph here</a:t>
            </a:r>
          </a:p>
        </p:txBody>
      </p:sp>
      <p:pic>
        <p:nvPicPr>
          <p:cNvPr id="8" name="Picture 7">
            <a:extLst>
              <a:ext uri="{FF2B5EF4-FFF2-40B4-BE49-F238E27FC236}">
                <a16:creationId xmlns:a16="http://schemas.microsoft.com/office/drawing/2014/main" id="{503EAEF5-206E-4C4D-ACDA-FCEE0AED271A}"/>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233112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Section Title 4">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Picture Placeholder 2">
            <a:extLst>
              <a:ext uri="{FF2B5EF4-FFF2-40B4-BE49-F238E27FC236}">
                <a16:creationId xmlns:a16="http://schemas.microsoft.com/office/drawing/2014/main" id="{8FE6D14E-7AEE-ED44-BC5B-C48BFBAA5208}"/>
              </a:ext>
            </a:extLst>
          </p:cNvPr>
          <p:cNvSpPr>
            <a:spLocks noGrp="1"/>
          </p:cNvSpPr>
          <p:nvPr>
            <p:ph type="pic" sz="quarter" idx="13" hasCustomPrompt="1"/>
          </p:nvPr>
        </p:nvSpPr>
        <p:spPr>
          <a:xfrm>
            <a:off x="5295333" y="306977"/>
            <a:ext cx="3285002" cy="4323160"/>
          </a:xfrm>
          <a:noFill/>
        </p:spPr>
        <p:txBody>
          <a:bodyPr anchor="ctr" anchorCtr="0">
            <a:normAutofit/>
          </a:bodyPr>
          <a:lstStyle>
            <a:lvl1pPr marL="0" indent="0" algn="ctr">
              <a:buNone/>
              <a:defRPr sz="900">
                <a:solidFill>
                  <a:schemeClr val="accent4"/>
                </a:solidFill>
              </a:defRPr>
            </a:lvl1pPr>
          </a:lstStyle>
          <a:p>
            <a:r>
              <a:rPr lang="en-US"/>
              <a:t>Place logos / image / graph here</a:t>
            </a:r>
          </a:p>
        </p:txBody>
      </p:sp>
      <p:sp>
        <p:nvSpPr>
          <p:cNvPr id="8" name="Text Placeholder 3">
            <a:extLst>
              <a:ext uri="{FF2B5EF4-FFF2-40B4-BE49-F238E27FC236}">
                <a16:creationId xmlns:a16="http://schemas.microsoft.com/office/drawing/2014/main" id="{34F92E8F-F526-9640-8B22-20BC3BD25C84}"/>
              </a:ext>
            </a:extLst>
          </p:cNvPr>
          <p:cNvSpPr>
            <a:spLocks noGrp="1"/>
          </p:cNvSpPr>
          <p:nvPr>
            <p:ph type="body" sz="quarter" idx="11" hasCustomPrompt="1"/>
          </p:nvPr>
        </p:nvSpPr>
        <p:spPr>
          <a:xfrm>
            <a:off x="274320" y="306977"/>
            <a:ext cx="4036423" cy="48985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lide title goes here</a:t>
            </a:r>
          </a:p>
        </p:txBody>
      </p:sp>
      <p:sp>
        <p:nvSpPr>
          <p:cNvPr id="11" name="Text Placeholder 3">
            <a:extLst>
              <a:ext uri="{FF2B5EF4-FFF2-40B4-BE49-F238E27FC236}">
                <a16:creationId xmlns:a16="http://schemas.microsoft.com/office/drawing/2014/main" id="{E6A3B9BD-9D9F-5E4B-B61D-C3A4915AF960}"/>
              </a:ext>
            </a:extLst>
          </p:cNvPr>
          <p:cNvSpPr>
            <a:spLocks noGrp="1"/>
          </p:cNvSpPr>
          <p:nvPr>
            <p:ph type="body" sz="quarter" idx="10" hasCustomPrompt="1"/>
          </p:nvPr>
        </p:nvSpPr>
        <p:spPr>
          <a:xfrm>
            <a:off x="274320" y="907869"/>
            <a:ext cx="4036423" cy="3997235"/>
          </a:xfrm>
        </p:spPr>
        <p:txBody>
          <a:bodyPr>
            <a:normAutofit/>
          </a:bodyPr>
          <a:lstStyle>
            <a:lvl1pPr marL="0" indent="0">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ontent goes here</a:t>
            </a:r>
          </a:p>
        </p:txBody>
      </p:sp>
      <p:pic>
        <p:nvPicPr>
          <p:cNvPr id="9" name="Picture 8">
            <a:extLst>
              <a:ext uri="{FF2B5EF4-FFF2-40B4-BE49-F238E27FC236}">
                <a16:creationId xmlns:a16="http://schemas.microsoft.com/office/drawing/2014/main" id="{B29DED95-E122-4C82-B197-340D3CB9E326}"/>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92340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274321" y="2153521"/>
            <a:ext cx="2488474" cy="491708"/>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mo</a:t>
            </a:r>
          </a:p>
        </p:txBody>
      </p:sp>
      <p:sp>
        <p:nvSpPr>
          <p:cNvPr id="11" name="Text Placeholder 3">
            <a:extLst>
              <a:ext uri="{FF2B5EF4-FFF2-40B4-BE49-F238E27FC236}">
                <a16:creationId xmlns:a16="http://schemas.microsoft.com/office/drawing/2014/main" id="{69571D05-59E5-1A42-9C0D-70B26C4088D2}"/>
              </a:ext>
            </a:extLst>
          </p:cNvPr>
          <p:cNvSpPr>
            <a:spLocks noGrp="1"/>
          </p:cNvSpPr>
          <p:nvPr>
            <p:ph type="body" sz="quarter" idx="12" hasCustomPrompt="1"/>
          </p:nvPr>
        </p:nvSpPr>
        <p:spPr>
          <a:xfrm>
            <a:off x="274321" y="2656660"/>
            <a:ext cx="2488474" cy="306975"/>
          </a:xfrm>
        </p:spPr>
        <p:txBody>
          <a:bodyPr>
            <a:noAutofit/>
          </a:bodyPr>
          <a:lstStyle>
            <a:lvl1pPr marL="0" indent="0" algn="l">
              <a:buNone/>
              <a:defRPr sz="15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Demo title goes here</a:t>
            </a:r>
          </a:p>
        </p:txBody>
      </p:sp>
      <p:pic>
        <p:nvPicPr>
          <p:cNvPr id="6" name="Picture 5">
            <a:extLst>
              <a:ext uri="{FF2B5EF4-FFF2-40B4-BE49-F238E27FC236}">
                <a16:creationId xmlns:a16="http://schemas.microsoft.com/office/drawing/2014/main" id="{1BC4278C-60E3-4183-A19F-48B388C8AA01}"/>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74931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FB4262-ADC6-F542-922D-7BD97A35AADF}"/>
              </a:ext>
            </a:extLst>
          </p:cNvPr>
          <p:cNvSpPr/>
          <p:nvPr userDrawn="1"/>
        </p:nvSpPr>
        <p:spPr>
          <a:xfrm>
            <a:off x="0" y="0"/>
            <a:ext cx="304364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Text Placeholder 3">
            <a:extLst>
              <a:ext uri="{FF2B5EF4-FFF2-40B4-BE49-F238E27FC236}">
                <a16:creationId xmlns:a16="http://schemas.microsoft.com/office/drawing/2014/main" id="{B5937654-6A22-294D-8C2D-880ECB794E5F}"/>
              </a:ext>
            </a:extLst>
          </p:cNvPr>
          <p:cNvSpPr>
            <a:spLocks noGrp="1"/>
          </p:cNvSpPr>
          <p:nvPr>
            <p:ph type="body" sz="quarter" idx="11" hasCustomPrompt="1"/>
          </p:nvPr>
        </p:nvSpPr>
        <p:spPr>
          <a:xfrm>
            <a:off x="274321" y="2343504"/>
            <a:ext cx="2488474" cy="456493"/>
          </a:xfrm>
        </p:spPr>
        <p:txBody>
          <a:bodyPr>
            <a:noAutofit/>
          </a:bodyPr>
          <a:lstStyle>
            <a:lvl1pPr marL="0" indent="0" algn="l">
              <a:buNone/>
              <a:defRPr sz="3000" b="1" i="0" spc="0">
                <a:solidFill>
                  <a:schemeClr val="bg1"/>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Q&amp;A</a:t>
            </a:r>
          </a:p>
        </p:txBody>
      </p:sp>
      <p:pic>
        <p:nvPicPr>
          <p:cNvPr id="5" name="Picture 4">
            <a:extLst>
              <a:ext uri="{FF2B5EF4-FFF2-40B4-BE49-F238E27FC236}">
                <a16:creationId xmlns:a16="http://schemas.microsoft.com/office/drawing/2014/main" id="{6C8337F8-5165-4CBA-9852-1A623166B5AC}"/>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53158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274321" y="306976"/>
            <a:ext cx="8543108" cy="502922"/>
          </a:xfrm>
        </p:spPr>
        <p:txBody>
          <a:bodyPr>
            <a:noAutofit/>
          </a:bodyPr>
          <a:lstStyle>
            <a:lvl1pPr marL="0" indent="0" algn="l">
              <a:buNone/>
              <a:defRPr sz="3000" b="1" i="0" spc="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s</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274321" y="1492990"/>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274321" y="1157493"/>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one</a:t>
            </a:r>
          </a:p>
        </p:txBody>
      </p:sp>
      <p:sp>
        <p:nvSpPr>
          <p:cNvPr id="10" name="Text Placeholder 3">
            <a:extLst>
              <a:ext uri="{FF2B5EF4-FFF2-40B4-BE49-F238E27FC236}">
                <a16:creationId xmlns:a16="http://schemas.microsoft.com/office/drawing/2014/main" id="{0CC564A0-0574-3C49-B906-26C4F1AEC126}"/>
              </a:ext>
            </a:extLst>
          </p:cNvPr>
          <p:cNvSpPr>
            <a:spLocks noGrp="1"/>
          </p:cNvSpPr>
          <p:nvPr>
            <p:ph type="body" sz="quarter" idx="13" hasCustomPrompt="1"/>
          </p:nvPr>
        </p:nvSpPr>
        <p:spPr>
          <a:xfrm>
            <a:off x="274321" y="2296356"/>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1" name="Text Placeholder 3">
            <a:extLst>
              <a:ext uri="{FF2B5EF4-FFF2-40B4-BE49-F238E27FC236}">
                <a16:creationId xmlns:a16="http://schemas.microsoft.com/office/drawing/2014/main" id="{2C225D99-49B0-2E46-B722-9704BD510617}"/>
              </a:ext>
            </a:extLst>
          </p:cNvPr>
          <p:cNvSpPr>
            <a:spLocks noGrp="1"/>
          </p:cNvSpPr>
          <p:nvPr>
            <p:ph type="body" sz="quarter" idx="14" hasCustomPrompt="1"/>
          </p:nvPr>
        </p:nvSpPr>
        <p:spPr>
          <a:xfrm>
            <a:off x="274321" y="1960859"/>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two</a:t>
            </a:r>
          </a:p>
        </p:txBody>
      </p:sp>
      <p:sp>
        <p:nvSpPr>
          <p:cNvPr id="12" name="Text Placeholder 3">
            <a:extLst>
              <a:ext uri="{FF2B5EF4-FFF2-40B4-BE49-F238E27FC236}">
                <a16:creationId xmlns:a16="http://schemas.microsoft.com/office/drawing/2014/main" id="{34E99198-C76E-0241-B2DA-C2A5A625E1AE}"/>
              </a:ext>
            </a:extLst>
          </p:cNvPr>
          <p:cNvSpPr>
            <a:spLocks noGrp="1"/>
          </p:cNvSpPr>
          <p:nvPr>
            <p:ph type="body" sz="quarter" idx="15" hasCustomPrompt="1"/>
          </p:nvPr>
        </p:nvSpPr>
        <p:spPr>
          <a:xfrm>
            <a:off x="274321" y="3109398"/>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3" name="Text Placeholder 3">
            <a:extLst>
              <a:ext uri="{FF2B5EF4-FFF2-40B4-BE49-F238E27FC236}">
                <a16:creationId xmlns:a16="http://schemas.microsoft.com/office/drawing/2014/main" id="{5034F082-8123-8E4C-A5CC-07E4E4ACFF34}"/>
              </a:ext>
            </a:extLst>
          </p:cNvPr>
          <p:cNvSpPr>
            <a:spLocks noGrp="1"/>
          </p:cNvSpPr>
          <p:nvPr>
            <p:ph type="body" sz="quarter" idx="16" hasCustomPrompt="1"/>
          </p:nvPr>
        </p:nvSpPr>
        <p:spPr>
          <a:xfrm>
            <a:off x="274321" y="2773901"/>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three</a:t>
            </a:r>
          </a:p>
        </p:txBody>
      </p:sp>
      <p:sp>
        <p:nvSpPr>
          <p:cNvPr id="14" name="Text Placeholder 3">
            <a:extLst>
              <a:ext uri="{FF2B5EF4-FFF2-40B4-BE49-F238E27FC236}">
                <a16:creationId xmlns:a16="http://schemas.microsoft.com/office/drawing/2014/main" id="{B833C998-789B-514E-A3A0-846C4E2DDA29}"/>
              </a:ext>
            </a:extLst>
          </p:cNvPr>
          <p:cNvSpPr>
            <a:spLocks noGrp="1"/>
          </p:cNvSpPr>
          <p:nvPr>
            <p:ph type="body" sz="quarter" idx="17" hasCustomPrompt="1"/>
          </p:nvPr>
        </p:nvSpPr>
        <p:spPr>
          <a:xfrm>
            <a:off x="274321" y="3912763"/>
            <a:ext cx="8543108" cy="244370"/>
          </a:xfrm>
        </p:spPr>
        <p:txBody>
          <a:bodyPr>
            <a:normAutofit/>
          </a:bodyPr>
          <a:lstStyle>
            <a:lvl1pPr marL="0" indent="0">
              <a:buNone/>
              <a:defRPr sz="1200">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URL</a:t>
            </a:r>
          </a:p>
        </p:txBody>
      </p:sp>
      <p:sp>
        <p:nvSpPr>
          <p:cNvPr id="15" name="Text Placeholder 3">
            <a:extLst>
              <a:ext uri="{FF2B5EF4-FFF2-40B4-BE49-F238E27FC236}">
                <a16:creationId xmlns:a16="http://schemas.microsoft.com/office/drawing/2014/main" id="{5BF7D92B-2BC7-E245-BED5-0A8EEB343D99}"/>
              </a:ext>
            </a:extLst>
          </p:cNvPr>
          <p:cNvSpPr>
            <a:spLocks noGrp="1"/>
          </p:cNvSpPr>
          <p:nvPr>
            <p:ph type="body" sz="quarter" idx="18" hasCustomPrompt="1"/>
          </p:nvPr>
        </p:nvSpPr>
        <p:spPr>
          <a:xfrm>
            <a:off x="274321" y="3577266"/>
            <a:ext cx="8543108" cy="307113"/>
          </a:xfrm>
        </p:spPr>
        <p:txBody>
          <a:bodyPr>
            <a:normAutofit/>
          </a:bodyPr>
          <a:lstStyle>
            <a:lvl1pPr marL="0" indent="0">
              <a:buNone/>
              <a:defRPr sz="1500" b="1" i="0">
                <a:solidFill>
                  <a:schemeClr val="accent3"/>
                </a:solidFill>
                <a:latin typeface="Segoe UI Semibold" panose="020B0502040204020203" pitchFamily="34" charset="0"/>
                <a:cs typeface="Segoe UI Semibold" panose="020B0502040204020203"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Resource four</a:t>
            </a:r>
          </a:p>
        </p:txBody>
      </p:sp>
      <p:pic>
        <p:nvPicPr>
          <p:cNvPr id="17" name="Picture 16">
            <a:extLst>
              <a:ext uri="{FF2B5EF4-FFF2-40B4-BE49-F238E27FC236}">
                <a16:creationId xmlns:a16="http://schemas.microsoft.com/office/drawing/2014/main" id="{22311F50-10F2-4482-9D9B-0DEAE9C5BFC4}"/>
              </a:ext>
            </a:extLst>
          </p:cNvPr>
          <p:cNvPicPr>
            <a:picLocks noChangeAspect="1"/>
          </p:cNvPicPr>
          <p:nvPr userDrawn="1"/>
        </p:nvPicPr>
        <p:blipFill>
          <a:blip r:embed="rId2"/>
          <a:stretch>
            <a:fillRect/>
          </a:stretch>
        </p:blipFill>
        <p:spPr>
          <a:xfrm>
            <a:off x="7796597" y="4759890"/>
            <a:ext cx="1138237" cy="376123"/>
          </a:xfrm>
          <a:prstGeom prst="rect">
            <a:avLst/>
          </a:prstGeom>
        </p:spPr>
      </p:pic>
    </p:spTree>
    <p:extLst>
      <p:ext uri="{BB962C8B-B14F-4D97-AF65-F5344CB8AC3E}">
        <p14:creationId xmlns:p14="http://schemas.microsoft.com/office/powerpoint/2010/main" val="133920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6177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3267075" cy="5143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156251"/>
            <a:ext cx="2387728" cy="415499"/>
          </a:xfrm>
        </p:spPr>
        <p:txBody>
          <a:bodyPr anchor="b"/>
          <a:lstStyle>
            <a:lvl1pPr>
              <a:defRPr>
                <a:solidFill>
                  <a:srgbClr val="50E6FF"/>
                </a:solidFill>
              </a:defRPr>
            </a:lvl1pPr>
          </a:lstStyle>
          <a:p>
            <a:r>
              <a:rPr lang="en-US"/>
              <a:t>Title</a:t>
            </a:r>
          </a:p>
        </p:txBody>
      </p:sp>
      <p:sp>
        <p:nvSpPr>
          <p:cNvPr id="4" name="Text Placeholder 3">
            <a:extLst>
              <a:ext uri="{FF2B5EF4-FFF2-40B4-BE49-F238E27FC236}">
                <a16:creationId xmlns:a16="http://schemas.microsoft.com/office/drawing/2014/main" id="{C3183DC7-374D-4F1F-BB29-DD9BD506BE27}"/>
              </a:ext>
            </a:extLst>
          </p:cNvPr>
          <p:cNvSpPr>
            <a:spLocks noGrp="1"/>
          </p:cNvSpPr>
          <p:nvPr>
            <p:ph type="body" sz="quarter" idx="10"/>
          </p:nvPr>
        </p:nvSpPr>
        <p:spPr>
          <a:xfrm>
            <a:off x="438150" y="2818210"/>
            <a:ext cx="2390775" cy="1329595"/>
          </a:xfrm>
        </p:spPr>
        <p:txBody>
          <a:bodyPr/>
          <a:lstStyle>
            <a:lvl1pPr marL="0" indent="0">
              <a:buNone/>
              <a:defRPr lang="en-US" sz="1800" b="1" kern="1200" spc="0" baseline="0" dirty="0" smtClean="0">
                <a:solidFill>
                  <a:schemeClr val="bg1"/>
                </a:solidFill>
                <a:latin typeface="+mn-lt"/>
                <a:ea typeface="+mn-ea"/>
                <a:cs typeface="Segoe UI Semilight" panose="020B0402040204020203" pitchFamily="34" charset="0"/>
              </a:defRPr>
            </a:lvl1pPr>
            <a:lvl2pPr marL="0" indent="0">
              <a:buNone/>
              <a:defRPr sz="1350">
                <a:solidFill>
                  <a:schemeClr val="bg1"/>
                </a:solidFill>
              </a:defRPr>
            </a:lvl2pPr>
            <a:lvl3pPr marL="0" indent="0">
              <a:buNone/>
              <a:defRPr sz="1050">
                <a:solidFill>
                  <a:schemeClr val="bg1"/>
                </a:solidFill>
              </a:defRPr>
            </a:lvl3pPr>
            <a:lvl4pPr marL="0" indent="0">
              <a:buNone/>
              <a:defRPr sz="900">
                <a:solidFill>
                  <a:schemeClr val="bg1"/>
                </a:solidFill>
              </a:defRPr>
            </a:lvl4pPr>
            <a:lvl5pPr marL="0" indent="0">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32358"/>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ext Layout (variant) 1-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7" y="462610"/>
            <a:ext cx="8479852" cy="307777"/>
          </a:xfrm>
        </p:spPr>
        <p:txBody>
          <a:bodyPr wrap="square" lIns="0" tIns="0" rIns="0" bIns="0">
            <a:spAutoFit/>
          </a:bodyPr>
          <a:lstStyle>
            <a:lvl1pPr>
              <a:lnSpc>
                <a:spcPts val="2352"/>
              </a:lnSpc>
              <a:defRPr sz="2059">
                <a:solidFill>
                  <a:schemeClr val="tx1"/>
                </a:solidFill>
              </a:defRPr>
            </a:lvl1pPr>
          </a:lstStyle>
          <a:p>
            <a:r>
              <a:rPr lang="en-US"/>
              <a:t>Heading Segoe UI </a:t>
            </a:r>
            <a:r>
              <a:rPr lang="en-US" err="1"/>
              <a:t>Semibold</a:t>
            </a:r>
            <a:r>
              <a:rPr lang="en-US"/>
              <a:t> 28/32</a:t>
            </a:r>
          </a:p>
        </p:txBody>
      </p:sp>
      <p:sp>
        <p:nvSpPr>
          <p:cNvPr id="6" name="Content Placeholder 5">
            <a:extLst>
              <a:ext uri="{FF2B5EF4-FFF2-40B4-BE49-F238E27FC236}">
                <a16:creationId xmlns:a16="http://schemas.microsoft.com/office/drawing/2014/main" id="{43A5F90E-1FC9-4C72-B34B-F8B1E4E8F8DD}"/>
              </a:ext>
            </a:extLst>
          </p:cNvPr>
          <p:cNvSpPr>
            <a:spLocks noGrp="1"/>
          </p:cNvSpPr>
          <p:nvPr>
            <p:ph sz="quarter" idx="13"/>
          </p:nvPr>
        </p:nvSpPr>
        <p:spPr>
          <a:xfrm>
            <a:off x="342901" y="1770461"/>
            <a:ext cx="4144566" cy="3030140"/>
          </a:xfrm>
        </p:spPr>
        <p:txBody>
          <a:bodyPr>
            <a:noAutofit/>
          </a:bodyPr>
          <a:lstStyle>
            <a:lvl1pPr>
              <a:lnSpc>
                <a:spcPct val="100000"/>
              </a:lnSpc>
              <a:spcBef>
                <a:spcPts val="900"/>
              </a:spcBef>
              <a:spcAft>
                <a:spcPts val="450"/>
              </a:spcAft>
              <a:defRPr sz="1500"/>
            </a:lvl1pPr>
            <a:lvl2pPr>
              <a:lnSpc>
                <a:spcPct val="100000"/>
              </a:lnSpc>
              <a:spcBef>
                <a:spcPts val="450"/>
              </a:spcBef>
              <a:spcAft>
                <a:spcPts val="450"/>
              </a:spcAft>
              <a:defRPr sz="1500"/>
            </a:lvl2pPr>
            <a:lvl3pPr>
              <a:lnSpc>
                <a:spcPct val="100000"/>
              </a:lnSpc>
              <a:spcBef>
                <a:spcPts val="450"/>
              </a:spcBef>
              <a:spcAft>
                <a:spcPts val="0"/>
              </a:spcAft>
              <a:defRPr sz="1050"/>
            </a:lvl3pPr>
            <a:lvl4pPr>
              <a:lnSpc>
                <a:spcPct val="100000"/>
              </a:lnSpc>
              <a:spcBef>
                <a:spcPts val="450"/>
              </a:spcBef>
              <a:defRPr sz="1050"/>
            </a:lvl4pPr>
            <a:lvl5pPr>
              <a:lnSpc>
                <a:spcPct val="100000"/>
              </a:lnSpc>
              <a:spcBef>
                <a:spcPts val="450"/>
              </a:spcBef>
              <a:defRPr sz="7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a:extLst>
              <a:ext uri="{FF2B5EF4-FFF2-40B4-BE49-F238E27FC236}">
                <a16:creationId xmlns:a16="http://schemas.microsoft.com/office/drawing/2014/main" id="{95DD8DB2-573C-4C83-AB25-03FCB8ACFB9B}"/>
              </a:ext>
            </a:extLst>
          </p:cNvPr>
          <p:cNvSpPr>
            <a:spLocks noGrp="1"/>
          </p:cNvSpPr>
          <p:nvPr>
            <p:ph sz="quarter" idx="14"/>
          </p:nvPr>
        </p:nvSpPr>
        <p:spPr>
          <a:xfrm>
            <a:off x="342901" y="767674"/>
            <a:ext cx="5752321" cy="192384"/>
          </a:xfrm>
        </p:spPr>
        <p:txBody>
          <a:bodyPr tIns="0" rIns="0" bIns="0" anchor="t" anchorCtr="0">
            <a:noAutofit/>
          </a:bodyPr>
          <a:lstStyle>
            <a:lvl1pPr>
              <a:lnSpc>
                <a:spcPct val="100000"/>
              </a:lnSpc>
              <a:spcBef>
                <a:spcPts val="900"/>
              </a:spcBef>
              <a:spcAft>
                <a:spcPts val="450"/>
              </a:spcAft>
              <a:defRPr sz="1471">
                <a:solidFill>
                  <a:schemeClr val="accent4"/>
                </a:solidFill>
              </a:defRPr>
            </a:lvl1pPr>
            <a:lvl2pPr>
              <a:lnSpc>
                <a:spcPct val="100000"/>
              </a:lnSpc>
              <a:spcBef>
                <a:spcPts val="450"/>
              </a:spcBef>
              <a:spcAft>
                <a:spcPts val="450"/>
              </a:spcAft>
              <a:defRPr sz="1500"/>
            </a:lvl2pPr>
            <a:lvl3pPr>
              <a:lnSpc>
                <a:spcPct val="100000"/>
              </a:lnSpc>
              <a:spcBef>
                <a:spcPts val="450"/>
              </a:spcBef>
              <a:spcAft>
                <a:spcPts val="0"/>
              </a:spcAft>
              <a:defRPr sz="1050"/>
            </a:lvl3pPr>
            <a:lvl4pPr>
              <a:lnSpc>
                <a:spcPct val="100000"/>
              </a:lnSpc>
              <a:spcBef>
                <a:spcPts val="450"/>
              </a:spcBef>
              <a:defRPr sz="1050"/>
            </a:lvl4pPr>
            <a:lvl5pPr>
              <a:lnSpc>
                <a:spcPct val="100000"/>
              </a:lnSpc>
              <a:spcBef>
                <a:spcPts val="450"/>
              </a:spcBef>
              <a:defRPr sz="7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318837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6856048" cy="373949"/>
          </a:xfrm>
          <a:noFill/>
        </p:spPr>
        <p:txBody>
          <a:bodyPr wrap="square" lIns="0" tIns="0" rIns="0" bIns="0" anchor="t" anchorCtr="0">
            <a:spAutoFit/>
          </a:bodyPr>
          <a:lstStyle>
            <a:lvl1pPr algn="l" defTabSz="699557" rtl="0" eaLnBrk="1" latinLnBrk="0" hangingPunct="1">
              <a:lnSpc>
                <a:spcPct val="90000"/>
              </a:lnSpc>
              <a:spcBef>
                <a:spcPct val="0"/>
              </a:spcBef>
              <a:buNone/>
              <a:defRPr lang="en-US" sz="2700" b="0"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1710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image" Target="../media/image7.emf"/><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theme" Target="../theme/theme10.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image" Target="../media/image7.emf"/><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theme" Target="../theme/theme11.xml"/><Relationship Id="rId8" Type="http://schemas.openxmlformats.org/officeDocument/2006/relationships/slideLayout" Target="../slideLayouts/slideLayout20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 Type="http://schemas.openxmlformats.org/officeDocument/2006/relationships/slideLayout" Target="../slideLayouts/slideLayout234.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image" Target="../media/image7.emf"/><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theme" Target="../theme/theme12.xml"/><Relationship Id="rId8" Type="http://schemas.openxmlformats.org/officeDocument/2006/relationships/slideLayout" Target="../slideLayouts/slideLayout23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slideLayout" Target="../slideLayouts/slideLayout299.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slideLayout" Target="../slideLayouts/slideLayout298.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36" Type="http://schemas.openxmlformats.org/officeDocument/2006/relationships/image" Target="../media/image7.emf"/><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35" Type="http://schemas.openxmlformats.org/officeDocument/2006/relationships/theme" Target="../theme/theme13.xml"/><Relationship Id="rId8" Type="http://schemas.openxmlformats.org/officeDocument/2006/relationships/slideLayout" Target="../slideLayouts/slideLayout27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21" Type="http://schemas.openxmlformats.org/officeDocument/2006/relationships/slideLayout" Target="../slideLayouts/slideLayout320.xml"/><Relationship Id="rId34" Type="http://schemas.openxmlformats.org/officeDocument/2006/relationships/slideLayout" Target="../slideLayouts/slideLayout333.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33" Type="http://schemas.openxmlformats.org/officeDocument/2006/relationships/slideLayout" Target="../slideLayouts/slideLayout332.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29" Type="http://schemas.openxmlformats.org/officeDocument/2006/relationships/slideLayout" Target="../slideLayouts/slideLayout32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32" Type="http://schemas.openxmlformats.org/officeDocument/2006/relationships/slideLayout" Target="../slideLayouts/slideLayout331.xml"/><Relationship Id="rId37" Type="http://schemas.openxmlformats.org/officeDocument/2006/relationships/image" Target="../media/image7.emf"/><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36" Type="http://schemas.openxmlformats.org/officeDocument/2006/relationships/theme" Target="../theme/theme14.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31" Type="http://schemas.openxmlformats.org/officeDocument/2006/relationships/slideLayout" Target="../slideLayouts/slideLayout330.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slideLayout" Target="../slideLayouts/slideLayout329.xml"/><Relationship Id="rId35" Type="http://schemas.openxmlformats.org/officeDocument/2006/relationships/slideLayout" Target="../slideLayouts/slideLayout334.xml"/><Relationship Id="rId8" Type="http://schemas.openxmlformats.org/officeDocument/2006/relationships/slideLayout" Target="../slideLayouts/slideLayout307.xml"/><Relationship Id="rId3" Type="http://schemas.openxmlformats.org/officeDocument/2006/relationships/slideLayout" Target="../slideLayouts/slideLayout30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26" Type="http://schemas.openxmlformats.org/officeDocument/2006/relationships/slideLayout" Target="../slideLayouts/slideLayout360.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34" Type="http://schemas.openxmlformats.org/officeDocument/2006/relationships/slideLayout" Target="../slideLayouts/slideLayout368.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slideLayout" Target="../slideLayouts/slideLayout367.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29" Type="http://schemas.openxmlformats.org/officeDocument/2006/relationships/slideLayout" Target="../slideLayouts/slideLayout363.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32" Type="http://schemas.openxmlformats.org/officeDocument/2006/relationships/slideLayout" Target="../slideLayouts/slideLayout366.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31" Type="http://schemas.openxmlformats.org/officeDocument/2006/relationships/slideLayout" Target="../slideLayouts/slideLayout365.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slideLayout" Target="../slideLayouts/slideLayout369.xml"/><Relationship Id="rId8" Type="http://schemas.openxmlformats.org/officeDocument/2006/relationships/slideLayout" Target="../slideLayouts/slideLayout3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7.xml"/><Relationship Id="rId3" Type="http://schemas.openxmlformats.org/officeDocument/2006/relationships/slideLayout" Target="../slideLayouts/slideLayout372.xml"/><Relationship Id="rId7" Type="http://schemas.openxmlformats.org/officeDocument/2006/relationships/slideLayout" Target="../slideLayouts/slideLayout376.xml"/><Relationship Id="rId12" Type="http://schemas.openxmlformats.org/officeDocument/2006/relationships/theme" Target="../theme/theme16.xml"/><Relationship Id="rId2" Type="http://schemas.openxmlformats.org/officeDocument/2006/relationships/slideLayout" Target="../slideLayouts/slideLayout371.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5" Type="http://schemas.openxmlformats.org/officeDocument/2006/relationships/slideLayout" Target="../slideLayouts/slideLayout374.xml"/><Relationship Id="rId10" Type="http://schemas.openxmlformats.org/officeDocument/2006/relationships/slideLayout" Target="../slideLayouts/slideLayout379.xml"/><Relationship Id="rId4" Type="http://schemas.openxmlformats.org/officeDocument/2006/relationships/slideLayout" Target="../slideLayouts/slideLayout373.xml"/><Relationship Id="rId9" Type="http://schemas.openxmlformats.org/officeDocument/2006/relationships/slideLayout" Target="../slideLayouts/slideLayout37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3.emf"/><Relationship Id="rId5" Type="http://schemas.openxmlformats.org/officeDocument/2006/relationships/theme" Target="../theme/theme3.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image" Target="../media/image7.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heme" Target="../theme/theme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8"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7.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image" Target="../media/image24.pn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theme" Target="../theme/theme6.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theme" Target="../theme/theme7.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theme" Target="../theme/theme8.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image" Target="../media/image7.emf"/><Relationship Id="rId8"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image" Target="../media/image7.emf"/><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theme" Target="../theme/theme9.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8"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Shape 3"/>
          <p:cNvSpPr>
            <a:spLocks noGrp="1"/>
          </p:cNvSpPr>
          <p:nvPr>
            <p:ph type="body" idx="1"/>
          </p:nvPr>
        </p:nvSpPr>
        <p:spPr>
          <a:xfrm>
            <a:off x="398461" y="1177273"/>
            <a:ext cx="8357895" cy="3282014"/>
          </a:xfrm>
          <a:prstGeom prst="rect">
            <a:avLst/>
          </a:prstGeom>
          <a:ln w="12700">
            <a:miter lim="400000"/>
          </a:ln>
          <a:extLst>
            <a:ext uri="{C572A759-6A51-4108-AA02-DFA0A04FC94B}">
              <ma14:wrappingTextBoxFlag xmlns="" xmlns:ma14="http://schemas.microsoft.com/office/mac/drawingml/2011/main" val="1"/>
            </a:ext>
          </a:extLst>
        </p:spPr>
        <p:txBody>
          <a:bodyPr lIns="91424" tIns="91424" rIns="91424" bIns="91424">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title"/>
          </p:nvPr>
        </p:nvSpPr>
        <p:spPr>
          <a:xfrm>
            <a:off x="398461" y="199021"/>
            <a:ext cx="8357895" cy="483207"/>
          </a:xfrm>
          <a:prstGeom prst="rect">
            <a:avLst/>
          </a:prstGeom>
          <a:ln w="12700">
            <a:miter lim="400000"/>
          </a:ln>
          <a:extLst>
            <a:ext uri="{C572A759-6A51-4108-AA02-DFA0A04FC94B}">
              <ma14:wrappingTextBoxFlag xmlns="" xmlns:ma14="http://schemas.microsoft.com/office/mac/drawingml/2011/main" val="1"/>
            </a:ext>
          </a:extLst>
        </p:spPr>
        <p:txBody>
          <a:bodyPr lIns="91424" tIns="91424" rIns="91424" bIns="91424">
            <a:normAutofit/>
          </a:bodyPr>
          <a:lstStyle/>
          <a:p>
            <a:r>
              <a:t>Title Text</a:t>
            </a:r>
          </a:p>
        </p:txBody>
      </p:sp>
      <p:sp>
        <p:nvSpPr>
          <p:cNvPr id="5" name="Shape 5"/>
          <p:cNvSpPr>
            <a:spLocks noGrp="1"/>
          </p:cNvSpPr>
          <p:nvPr>
            <p:ph type="sldNum" sz="quarter" idx="2"/>
          </p:nvPr>
        </p:nvSpPr>
        <p:spPr>
          <a:xfrm>
            <a:off x="398461" y="4813639"/>
            <a:ext cx="139106" cy="127001"/>
          </a:xfrm>
          <a:prstGeom prst="rect">
            <a:avLst/>
          </a:prstGeom>
          <a:ln w="12700">
            <a:miter lim="400000"/>
          </a:ln>
        </p:spPr>
        <p:txBody>
          <a:bodyPr wrap="none" lIns="0" tIns="0" rIns="0" bIns="0" anchor="ctr">
            <a:spAutoFit/>
          </a:bodyPr>
          <a:lstStyle>
            <a:lvl1pPr>
              <a:defRPr sz="700" b="1">
                <a:solidFill>
                  <a:srgbClr val="7F7F7F"/>
                </a:solidFill>
                <a:latin typeface="Verdana"/>
                <a:ea typeface="Verdana"/>
                <a:cs typeface="Verdana"/>
                <a:sym typeface="Verdana"/>
              </a:defRPr>
            </a:lvl1pPr>
          </a:lstStyle>
          <a:p>
            <a:fld id="{86CB4B4D-7CA3-9044-876B-883B54F8677D}" type="slidenum">
              <a:rPr/>
              <a:pPr/>
              <a:t>‹#›</a:t>
            </a:fld>
            <a:endParaRPr/>
          </a:p>
        </p:txBody>
      </p:sp>
    </p:spTree>
  </p:cSld>
  <p:clrMap bg1="lt1" tx1="dk1" bg2="lt2" tx2="dk2" accent1="accent1" accent2="accent2" accent3="accent3" accent4="accent4" accent5="accent5" accent6="accent6" hlink="hlink" folHlink="folHlink"/>
  <p:sldLayoutIdLst>
    <p:sldLayoutId id="2147483675" r:id="rId1"/>
    <p:sldLayoutId id="2147483650" r:id="rId2"/>
    <p:sldLayoutId id="2147483677" r:id="rId3"/>
    <p:sldLayoutId id="2147483678" r:id="rId4"/>
  </p:sldLayoutIdLst>
  <p:transition spd="med"/>
  <p:txStyles>
    <p:titleStyle>
      <a:lvl1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1pPr>
      <a:lvl2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2pPr>
      <a:lvl3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3pPr>
      <a:lvl4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4pPr>
      <a:lvl5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5pPr>
      <a:lvl6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6pPr>
      <a:lvl7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7pPr>
      <a:lvl8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8pPr>
      <a:lvl9pPr marL="0" marR="0" indent="0" algn="l" defTabSz="914400" rtl="0" latinLnBrk="0">
        <a:lnSpc>
          <a:spcPct val="100000"/>
        </a:lnSpc>
        <a:spcBef>
          <a:spcPts val="0"/>
        </a:spcBef>
        <a:spcAft>
          <a:spcPts val="0"/>
        </a:spcAft>
        <a:buClrTx/>
        <a:buSzTx/>
        <a:buFontTx/>
        <a:buNone/>
        <a:tabLst/>
        <a:defRPr sz="2000" b="1" i="0" u="none" strike="noStrike" cap="none" spc="0" baseline="0">
          <a:ln>
            <a:noFill/>
          </a:ln>
          <a:solidFill>
            <a:srgbClr val="E9022B"/>
          </a:solidFill>
          <a:uFillTx/>
          <a:latin typeface="Verdana"/>
          <a:ea typeface="Verdana"/>
          <a:cs typeface="Verdana"/>
          <a:sym typeface="Verdana"/>
        </a:defRPr>
      </a:lvl9pPr>
    </p:titleStyle>
    <p:bodyStyle>
      <a:lvl1pPr marL="0" marR="0" indent="0" algn="l" defTabSz="914400" rtl="0" latinLnBrk="0">
        <a:lnSpc>
          <a:spcPct val="100000"/>
        </a:lnSpc>
        <a:spcBef>
          <a:spcPts val="300"/>
        </a:spcBef>
        <a:spcAft>
          <a:spcPts val="0"/>
        </a:spcAft>
        <a:buClrTx/>
        <a:buSzTx/>
        <a:buFontTx/>
        <a:buNone/>
        <a:tabLst/>
        <a:defRPr sz="1200" b="0" i="0" u="none" strike="noStrike" cap="none" spc="0" baseline="0">
          <a:ln>
            <a:noFill/>
          </a:ln>
          <a:solidFill>
            <a:srgbClr val="7F7F7F"/>
          </a:solidFill>
          <a:uFillTx/>
          <a:latin typeface="Verdana"/>
          <a:ea typeface="Verdana"/>
          <a:cs typeface="Verdana"/>
          <a:sym typeface="Verdana"/>
        </a:defRPr>
      </a:lvl1pPr>
      <a:lvl2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2pPr>
      <a:lvl3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3pPr>
      <a:lvl4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4pPr>
      <a:lvl5pPr marL="199548" marR="0" indent="-77628" algn="l" defTabSz="914400" rtl="0" latinLnBrk="0">
        <a:lnSpc>
          <a:spcPct val="100000"/>
        </a:lnSpc>
        <a:spcBef>
          <a:spcPts val="300"/>
        </a:spcBef>
        <a:spcAft>
          <a:spcPts val="0"/>
        </a:spcAft>
        <a:buClrTx/>
        <a:buSzPct val="120000"/>
        <a:buFontTx/>
        <a:buChar char="•"/>
        <a:tabLst/>
        <a:defRPr sz="1200" b="0" i="0" u="none" strike="noStrike" cap="none" spc="0" baseline="0">
          <a:ln>
            <a:noFill/>
          </a:ln>
          <a:solidFill>
            <a:srgbClr val="7F7F7F"/>
          </a:solidFill>
          <a:uFillTx/>
          <a:latin typeface="Verdana"/>
          <a:ea typeface="Verdana"/>
          <a:cs typeface="Verdana"/>
          <a:sym typeface="Verdana"/>
        </a:defRPr>
      </a:lvl5pPr>
      <a:lvl6pPr marL="2473960" marR="0" indent="-60960"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6pPr>
      <a:lvl7pPr marL="2931160" marR="0" indent="-60960"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7pPr>
      <a:lvl8pPr marL="3388359" marR="0" indent="-60959"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8pPr>
      <a:lvl9pPr marL="3845559" marR="0" indent="-60959" algn="l" defTabSz="914400" rtl="0" latinLnBrk="0">
        <a:lnSpc>
          <a:spcPct val="100000"/>
        </a:lnSpc>
        <a:spcBef>
          <a:spcPts val="300"/>
        </a:spcBef>
        <a:spcAft>
          <a:spcPts val="0"/>
        </a:spcAft>
        <a:buClrTx/>
        <a:buSzPct val="100000"/>
        <a:buFontTx/>
        <a:buChar char="•"/>
        <a:tabLst/>
        <a:defRPr sz="1200" b="0" i="0" u="none" strike="noStrike" cap="none" spc="0" baseline="0">
          <a:ln>
            <a:noFill/>
          </a:ln>
          <a:solidFill>
            <a:srgbClr val="7F7F7F"/>
          </a:solidFill>
          <a:uFillTx/>
          <a:latin typeface="Verdana"/>
          <a:ea typeface="Verdana"/>
          <a:cs typeface="Verdana"/>
          <a:sym typeface="Verdana"/>
        </a:defRPr>
      </a:lvl9pPr>
    </p:bodyStyle>
    <p:otherStyle>
      <a:lvl1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1pPr>
      <a:lvl2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2pPr>
      <a:lvl3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3pPr>
      <a:lvl4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4pPr>
      <a:lvl5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5pPr>
      <a:lvl6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6pPr>
      <a:lvl7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7pPr>
      <a:lvl8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8pPr>
      <a:lvl9pPr marL="0" marR="0" indent="0" algn="l" defTabSz="914400" rtl="0" latinLnBrk="0">
        <a:lnSpc>
          <a:spcPct val="100000"/>
        </a:lnSpc>
        <a:spcBef>
          <a:spcPts val="0"/>
        </a:spcBef>
        <a:spcAft>
          <a:spcPts val="0"/>
        </a:spcAft>
        <a:buClrTx/>
        <a:buSzTx/>
        <a:buFontTx/>
        <a:buNone/>
        <a:tabLst/>
        <a:defRPr sz="700" b="1" i="0" u="none" strike="noStrike" cap="none" spc="0" baseline="0">
          <a:ln>
            <a:noFill/>
          </a:ln>
          <a:solidFill>
            <a:schemeClr val="tx1"/>
          </a:solidFill>
          <a:uFillTx/>
          <a:latin typeface="+mn-lt"/>
          <a:ea typeface="+mn-ea"/>
          <a:cs typeface="+mn-cs"/>
          <a:sym typeface="Verdana"/>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79612961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 id="2147483883" r:id="rId31"/>
    <p:sldLayoutId id="2147483884" r:id="rId32"/>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793822150"/>
      </p:ext>
    </p:extLst>
  </p:cSld>
  <p:clrMap bg1="dk1" tx1="lt1" bg2="dk2" tx2="lt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 id="2147483917" r:id="rId31"/>
    <p:sldLayoutId id="2147483918" r:id="rId32"/>
    <p:sldLayoutId id="2147483919" r:id="rId33"/>
    <p:sldLayoutId id="2147483920" r:id="rId34"/>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77606794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5" r:id="rId33"/>
    <p:sldLayoutId id="2147483956" r:id="rId34"/>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388591118"/>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90" r:id="rId32"/>
    <p:sldLayoutId id="2147483991" r:id="rId33"/>
    <p:sldLayoutId id="2147483992" r:id="rId34"/>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1725896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6" r:id="rId32"/>
    <p:sldLayoutId id="2147484027" r:id="rId33"/>
    <p:sldLayoutId id="2147484028" r:id="rId34"/>
    <p:sldLayoutId id="2147484029" r:id="rId35"/>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27435031"/>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Lst>
  <p:transition>
    <p:fade/>
  </p:transition>
  <p:hf sldNum="0" hdr="0" ftr="0" dt="0"/>
  <p:txStyles>
    <p:titleStyle>
      <a:lvl1pPr algn="l" defTabSz="699422" rtl="0" eaLnBrk="1" latinLnBrk="0" hangingPunct="1">
        <a:lnSpc>
          <a:spcPct val="100000"/>
        </a:lnSpc>
        <a:spcBef>
          <a:spcPct val="0"/>
        </a:spcBef>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17" marR="0" indent="-171417"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834" marR="0" indent="-171417"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824" marR="0" indent="-149990"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101" marR="0" indent="-135705"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806" marR="0" indent="-126182" algn="l" defTabSz="69942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410"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123"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833"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546" indent="-174856" algn="l" defTabSz="6994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22" rtl="0" eaLnBrk="1" latinLnBrk="0" hangingPunct="1">
        <a:defRPr sz="1350" kern="1200">
          <a:solidFill>
            <a:schemeClr val="tx1"/>
          </a:solidFill>
          <a:latin typeface="+mn-lt"/>
          <a:ea typeface="+mn-ea"/>
          <a:cs typeface="+mn-cs"/>
        </a:defRPr>
      </a:lvl1pPr>
      <a:lvl2pPr marL="349712" algn="l" defTabSz="699422" rtl="0" eaLnBrk="1" latinLnBrk="0" hangingPunct="1">
        <a:defRPr sz="1350" kern="1200">
          <a:solidFill>
            <a:schemeClr val="tx1"/>
          </a:solidFill>
          <a:latin typeface="+mn-lt"/>
          <a:ea typeface="+mn-ea"/>
          <a:cs typeface="+mn-cs"/>
        </a:defRPr>
      </a:lvl2pPr>
      <a:lvl3pPr marL="699422" algn="l" defTabSz="699422" rtl="0" eaLnBrk="1" latinLnBrk="0" hangingPunct="1">
        <a:defRPr sz="1350" kern="1200">
          <a:solidFill>
            <a:schemeClr val="tx1"/>
          </a:solidFill>
          <a:latin typeface="+mn-lt"/>
          <a:ea typeface="+mn-ea"/>
          <a:cs typeface="+mn-cs"/>
        </a:defRPr>
      </a:lvl3pPr>
      <a:lvl4pPr marL="1049133" algn="l" defTabSz="699422" rtl="0" eaLnBrk="1" latinLnBrk="0" hangingPunct="1">
        <a:defRPr sz="1350" kern="1200">
          <a:solidFill>
            <a:schemeClr val="tx1"/>
          </a:solidFill>
          <a:latin typeface="+mn-lt"/>
          <a:ea typeface="+mn-ea"/>
          <a:cs typeface="+mn-cs"/>
        </a:defRPr>
      </a:lvl4pPr>
      <a:lvl5pPr marL="1398845" algn="l" defTabSz="699422" rtl="0" eaLnBrk="1" latinLnBrk="0" hangingPunct="1">
        <a:defRPr sz="1350" kern="1200">
          <a:solidFill>
            <a:schemeClr val="tx1"/>
          </a:solidFill>
          <a:latin typeface="+mn-lt"/>
          <a:ea typeface="+mn-ea"/>
          <a:cs typeface="+mn-cs"/>
        </a:defRPr>
      </a:lvl5pPr>
      <a:lvl6pPr marL="1748556" algn="l" defTabSz="699422" rtl="0" eaLnBrk="1" latinLnBrk="0" hangingPunct="1">
        <a:defRPr sz="1350" kern="1200">
          <a:solidFill>
            <a:schemeClr val="tx1"/>
          </a:solidFill>
          <a:latin typeface="+mn-lt"/>
          <a:ea typeface="+mn-ea"/>
          <a:cs typeface="+mn-cs"/>
        </a:defRPr>
      </a:lvl6pPr>
      <a:lvl7pPr marL="2098267" algn="l" defTabSz="699422" rtl="0" eaLnBrk="1" latinLnBrk="0" hangingPunct="1">
        <a:defRPr sz="1350" kern="1200">
          <a:solidFill>
            <a:schemeClr val="tx1"/>
          </a:solidFill>
          <a:latin typeface="+mn-lt"/>
          <a:ea typeface="+mn-ea"/>
          <a:cs typeface="+mn-cs"/>
        </a:defRPr>
      </a:lvl7pPr>
      <a:lvl8pPr marL="2447978" algn="l" defTabSz="699422" rtl="0" eaLnBrk="1" latinLnBrk="0" hangingPunct="1">
        <a:defRPr sz="1350" kern="1200">
          <a:solidFill>
            <a:schemeClr val="tx1"/>
          </a:solidFill>
          <a:latin typeface="+mn-lt"/>
          <a:ea typeface="+mn-ea"/>
          <a:cs typeface="+mn-cs"/>
        </a:defRPr>
      </a:lvl8pPr>
      <a:lvl9pPr marL="2797689" algn="l" defTabSz="69942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B9CF89F-178F-4ED8-8499-E58907ADD55A}"/>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DDACD42-F41D-414A-A2F5-F830755CD9C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528B5B-6F74-4990-A445-78780243E827}"/>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DEC7FC51-6F2F-498B-B8CB-0AA46570E1A2}" type="datetimeFigureOut">
              <a:rPr lang="en-US" smtClean="0"/>
              <a:t>4/10/2020</a:t>
            </a:fld>
            <a:endParaRPr lang="en-US"/>
          </a:p>
        </p:txBody>
      </p:sp>
      <p:sp>
        <p:nvSpPr>
          <p:cNvPr id="5" name="Footer Placeholder 4">
            <a:extLst>
              <a:ext uri="{FF2B5EF4-FFF2-40B4-BE49-F238E27FC236}">
                <a16:creationId xmlns:a16="http://schemas.microsoft.com/office/drawing/2014/main" id="{601F6A1C-0F04-428F-BA01-0256748E608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387FC6-1035-4717-BB8C-7751EC10DCC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E79FFA2-880B-43E5-8710-088C04929116}" type="slidenum">
              <a:rPr lang="en-US" smtClean="0"/>
              <a:t>‹#›</a:t>
            </a:fld>
            <a:endParaRPr lang="en-US"/>
          </a:p>
        </p:txBody>
      </p:sp>
    </p:spTree>
    <p:extLst>
      <p:ext uri="{BB962C8B-B14F-4D97-AF65-F5344CB8AC3E}">
        <p14:creationId xmlns:p14="http://schemas.microsoft.com/office/powerpoint/2010/main" val="2987239038"/>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4050" y="104775"/>
            <a:ext cx="8032750" cy="806067"/>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p:cNvSpPr>
            <a:spLocks noGrp="1"/>
          </p:cNvSpPr>
          <p:nvPr>
            <p:ph type="body" idx="1"/>
          </p:nvPr>
        </p:nvSpPr>
        <p:spPr>
          <a:xfrm>
            <a:off x="654050" y="945357"/>
            <a:ext cx="8032750" cy="3649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pPr defTabSz="457200" hangingPunct="1"/>
            <a:fld id="{5CF913C8-17C4-FB4D-9EC3-D615C3C027F0}" type="slidenum">
              <a:rPr lang="en-US" kern="1200" smtClean="0">
                <a:solidFill>
                  <a:prstClr val="white">
                    <a:lumMod val="65000"/>
                  </a:prstClr>
                </a:solidFill>
                <a:ea typeface="+mn-ea"/>
              </a:rPr>
              <a:pPr defTabSz="457200" hangingPunct="1"/>
              <a:t>‹#›</a:t>
            </a:fld>
            <a:endParaRPr lang="en-US" kern="1200">
              <a:solidFill>
                <a:prstClr val="white">
                  <a:lumMod val="65000"/>
                </a:prstClr>
              </a:solidFill>
              <a:ea typeface="+mn-ea"/>
            </a:endParaRPr>
          </a:p>
        </p:txBody>
      </p:sp>
      <p:sp>
        <p:nvSpPr>
          <p:cNvPr id="34" name="Rectangle 33"/>
          <p:cNvSpPr/>
          <p:nvPr userDrawn="1"/>
        </p:nvSpPr>
        <p:spPr>
          <a:xfrm>
            <a:off x="7967607" y="4893113"/>
            <a:ext cx="978153"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6 | </a:t>
            </a:r>
            <a:endParaRPr lang="en-US" sz="1800" kern="1200">
              <a:solidFill>
                <a:srgbClr val="4D4D4F"/>
              </a:solidFill>
              <a:ea typeface="+mn-ea"/>
              <a:cs typeface="+mn-cs"/>
            </a:endParaRPr>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cxnSp>
        <p:nvCxnSpPr>
          <p:cNvPr id="11" name="Straight Connector 10"/>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31806"/>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Lst>
  <p:hf hdr="0" ftr="0" dt="0"/>
  <p:txStyles>
    <p:titleStyle>
      <a:lvl1pPr algn="l" defTabSz="457200" rtl="0" eaLnBrk="1" latinLnBrk="0" hangingPunct="1">
        <a:lnSpc>
          <a:spcPct val="90000"/>
        </a:lnSpc>
        <a:spcBef>
          <a:spcPct val="0"/>
        </a:spcBef>
        <a:buNone/>
        <a:defRPr sz="2400" b="1" i="0" kern="1200">
          <a:solidFill>
            <a:schemeClr val="accent1"/>
          </a:solidFill>
          <a:latin typeface="+mj-lt"/>
          <a:ea typeface="+mj-ea"/>
          <a:cs typeface="Verdana"/>
        </a:defRPr>
      </a:lvl1pPr>
    </p:titleStyle>
    <p:bodyStyle>
      <a:lvl1pPr marL="171450" indent="-171450" algn="l" defTabSz="457200" rtl="0" eaLnBrk="1" latinLnBrk="0" hangingPunct="1">
        <a:spcBef>
          <a:spcPts val="1200"/>
        </a:spcBef>
        <a:buClr>
          <a:schemeClr val="tx2"/>
        </a:buClr>
        <a:buFont typeface="Wingdings" charset="2"/>
        <a:buChar char="§"/>
        <a:defRPr sz="1600" kern="1200">
          <a:solidFill>
            <a:srgbClr val="484E53"/>
          </a:solidFill>
          <a:latin typeface="+mn-lt"/>
          <a:ea typeface="+mn-ea"/>
          <a:cs typeface="Verdana"/>
        </a:defRPr>
      </a:lvl1pPr>
      <a:lvl2pPr marL="401638" indent="-204788" algn="l" defTabSz="457200" rtl="0" eaLnBrk="1" latinLnBrk="0" hangingPunct="1">
        <a:spcBef>
          <a:spcPts val="600"/>
        </a:spcBef>
        <a:buClr>
          <a:schemeClr val="tx2"/>
        </a:buClr>
        <a:buFont typeface="Arial"/>
        <a:buChar char="–"/>
        <a:defRPr sz="1400" kern="1200">
          <a:solidFill>
            <a:srgbClr val="484E53"/>
          </a:solidFill>
          <a:latin typeface="+mn-lt"/>
          <a:ea typeface="+mn-ea"/>
          <a:cs typeface="Verdana"/>
        </a:defRPr>
      </a:lvl2pPr>
      <a:lvl3pPr marL="573088" indent="-1460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3pPr>
      <a:lvl4pPr marL="782638" indent="-1968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4pPr>
      <a:lvl5pPr marL="954088" indent="-150813"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4050" y="104775"/>
            <a:ext cx="8032750" cy="806067"/>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p:cNvSpPr>
            <a:spLocks noGrp="1"/>
          </p:cNvSpPr>
          <p:nvPr>
            <p:ph type="body" idx="1"/>
          </p:nvPr>
        </p:nvSpPr>
        <p:spPr>
          <a:xfrm>
            <a:off x="654050" y="945357"/>
            <a:ext cx="8032750" cy="3649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808244" y="4856219"/>
            <a:ext cx="335756" cy="273844"/>
          </a:xfrm>
          <a:prstGeom prst="rect">
            <a:avLst/>
          </a:prstGeom>
        </p:spPr>
        <p:txBody>
          <a:bodyPr vert="horz" lIns="91440" tIns="45720" rIns="91440" bIns="45720" rtlCol="0" anchor="ctr"/>
          <a:lstStyle>
            <a:lvl1pPr algn="l">
              <a:defRPr sz="700">
                <a:solidFill>
                  <a:schemeClr val="bg1">
                    <a:lumMod val="65000"/>
                  </a:schemeClr>
                </a:solidFill>
                <a:latin typeface="+mn-lt"/>
                <a:cs typeface="Verdana"/>
              </a:defRPr>
            </a:lvl1pPr>
          </a:lstStyle>
          <a:p>
            <a:pPr defTabSz="457200" hangingPunct="1"/>
            <a:fld id="{5CF913C8-17C4-FB4D-9EC3-D615C3C027F0}" type="slidenum">
              <a:rPr lang="en-US" kern="1200" smtClean="0">
                <a:solidFill>
                  <a:prstClr val="white">
                    <a:lumMod val="65000"/>
                  </a:prstClr>
                </a:solidFill>
                <a:ea typeface="+mn-ea"/>
              </a:rPr>
              <a:pPr defTabSz="457200" hangingPunct="1"/>
              <a:t>‹#›</a:t>
            </a:fld>
            <a:endParaRPr lang="en-US" kern="1200">
              <a:solidFill>
                <a:prstClr val="white">
                  <a:lumMod val="65000"/>
                </a:prstClr>
              </a:solidFill>
              <a:ea typeface="+mn-ea"/>
            </a:endParaRPr>
          </a:p>
        </p:txBody>
      </p:sp>
      <p:sp>
        <p:nvSpPr>
          <p:cNvPr id="34" name="Rectangle 33"/>
          <p:cNvSpPr/>
          <p:nvPr userDrawn="1"/>
        </p:nvSpPr>
        <p:spPr>
          <a:xfrm>
            <a:off x="7967607" y="4893113"/>
            <a:ext cx="978153" cy="200055"/>
          </a:xfrm>
          <a:prstGeom prst="rect">
            <a:avLst/>
          </a:prstGeom>
        </p:spPr>
        <p:txBody>
          <a:bodyPr wrap="none">
            <a:spAutoFit/>
          </a:bodyPr>
          <a:lstStyle/>
          <a:p>
            <a:pPr defTabSz="457200" hangingPunct="1"/>
            <a:r>
              <a:rPr lang="pl-PL" sz="700" kern="1200">
                <a:solidFill>
                  <a:prstClr val="white">
                    <a:lumMod val="65000"/>
                  </a:prstClr>
                </a:solidFill>
                <a:ea typeface="+mn-ea"/>
                <a:cs typeface="Verdana"/>
              </a:rPr>
              <a:t>© CDW LLC 201</a:t>
            </a:r>
            <a:r>
              <a:rPr lang="en-US" sz="700" kern="1200">
                <a:solidFill>
                  <a:prstClr val="white">
                    <a:lumMod val="65000"/>
                  </a:prstClr>
                </a:solidFill>
                <a:ea typeface="+mn-ea"/>
                <a:cs typeface="Verdana"/>
              </a:rPr>
              <a:t>6 | </a:t>
            </a:r>
            <a:endParaRPr lang="en-US" sz="1800" kern="1200">
              <a:solidFill>
                <a:srgbClr val="4D4D4F"/>
              </a:solidFill>
              <a:ea typeface="+mn-ea"/>
              <a:cs typeface="+mn-cs"/>
            </a:endParaRPr>
          </a:p>
        </p:txBody>
      </p:sp>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4334" y="4696064"/>
            <a:ext cx="720865" cy="331762"/>
          </a:xfrm>
          <a:prstGeom prst="rect">
            <a:avLst/>
          </a:prstGeom>
        </p:spPr>
      </p:pic>
      <p:cxnSp>
        <p:nvCxnSpPr>
          <p:cNvPr id="11" name="Straight Connector 10"/>
          <p:cNvCxnSpPr/>
          <p:nvPr userDrawn="1"/>
        </p:nvCxnSpPr>
        <p:spPr>
          <a:xfrm flipH="1">
            <a:off x="853049" y="5002666"/>
            <a:ext cx="7066933" cy="0"/>
          </a:xfrm>
          <a:prstGeom prst="line">
            <a:avLst/>
          </a:prstGeom>
          <a:ln cap="rnd">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976374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8" r:id="rId4"/>
  </p:sldLayoutIdLst>
  <p:hf hdr="0" ftr="0" dt="0"/>
  <p:txStyles>
    <p:titleStyle>
      <a:lvl1pPr algn="l" defTabSz="457200" rtl="0" eaLnBrk="1" latinLnBrk="0" hangingPunct="1">
        <a:lnSpc>
          <a:spcPct val="90000"/>
        </a:lnSpc>
        <a:spcBef>
          <a:spcPct val="0"/>
        </a:spcBef>
        <a:buNone/>
        <a:defRPr sz="2400" b="1" i="0" kern="1200">
          <a:solidFill>
            <a:schemeClr val="accent1"/>
          </a:solidFill>
          <a:latin typeface="+mj-lt"/>
          <a:ea typeface="+mj-ea"/>
          <a:cs typeface="Verdana"/>
        </a:defRPr>
      </a:lvl1pPr>
    </p:titleStyle>
    <p:bodyStyle>
      <a:lvl1pPr marL="171450" indent="-171450" algn="l" defTabSz="457200" rtl="0" eaLnBrk="1" latinLnBrk="0" hangingPunct="1">
        <a:spcBef>
          <a:spcPts val="1200"/>
        </a:spcBef>
        <a:buClr>
          <a:schemeClr val="tx2"/>
        </a:buClr>
        <a:buFont typeface="Wingdings" charset="2"/>
        <a:buChar char="§"/>
        <a:defRPr sz="1600" kern="1200">
          <a:solidFill>
            <a:srgbClr val="484E53"/>
          </a:solidFill>
          <a:latin typeface="+mn-lt"/>
          <a:ea typeface="+mn-ea"/>
          <a:cs typeface="Verdana"/>
        </a:defRPr>
      </a:lvl1pPr>
      <a:lvl2pPr marL="401638" indent="-204788" algn="l" defTabSz="457200" rtl="0" eaLnBrk="1" latinLnBrk="0" hangingPunct="1">
        <a:spcBef>
          <a:spcPts val="600"/>
        </a:spcBef>
        <a:buClr>
          <a:schemeClr val="tx2"/>
        </a:buClr>
        <a:buFont typeface="Arial"/>
        <a:buChar char="–"/>
        <a:defRPr sz="1400" kern="1200">
          <a:solidFill>
            <a:srgbClr val="484E53"/>
          </a:solidFill>
          <a:latin typeface="+mn-lt"/>
          <a:ea typeface="+mn-ea"/>
          <a:cs typeface="Verdana"/>
        </a:defRPr>
      </a:lvl2pPr>
      <a:lvl3pPr marL="573088" indent="-1460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3pPr>
      <a:lvl4pPr marL="782638" indent="-196850"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4pPr>
      <a:lvl5pPr marL="954088" indent="-150813" algn="l" defTabSz="457200" rtl="0" eaLnBrk="1" latinLnBrk="0" hangingPunct="1">
        <a:spcBef>
          <a:spcPts val="300"/>
        </a:spcBef>
        <a:buClr>
          <a:schemeClr val="tx2"/>
        </a:buClr>
        <a:buFont typeface="Arial"/>
        <a:buChar char="»"/>
        <a:defRPr sz="1400" kern="1200">
          <a:solidFill>
            <a:srgbClr val="484E53"/>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289803244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marL="0" marR="0" lvl="0" indent="0" algn="ctr" defTabSz="699354"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3173399240"/>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57957"/>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2" y="932707"/>
            <a:ext cx="8740141" cy="104105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6906562" y="2243276"/>
            <a:ext cx="5143967" cy="657418"/>
          </a:xfrm>
          <a:prstGeom prst="rect">
            <a:avLst/>
          </a:prstGeom>
        </p:spPr>
      </p:pic>
    </p:spTree>
    <p:extLst>
      <p:ext uri="{BB962C8B-B14F-4D97-AF65-F5344CB8AC3E}">
        <p14:creationId xmlns:p14="http://schemas.microsoft.com/office/powerpoint/2010/main" val="10816626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Lst>
  <p:transition>
    <p:fade/>
  </p:transition>
  <p:txStyles>
    <p:titleStyle>
      <a:lvl1pPr algn="l" defTabSz="685644" rtl="0" eaLnBrk="1" latinLnBrk="0" hangingPunct="1">
        <a:lnSpc>
          <a:spcPct val="90000"/>
        </a:lnSpc>
        <a:spcBef>
          <a:spcPct val="0"/>
        </a:spcBef>
        <a:buNone/>
        <a:defRPr lang="en-US" sz="27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1pPr>
      <a:lvl2pPr marL="25206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2pPr>
      <a:lvl3pPr marL="420101"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3pPr>
      <a:lvl4pPr marL="588140"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4pPr>
      <a:lvl5pPr marL="756181" marR="0" indent="0" algn="l" defTabSz="685644" rtl="0" eaLnBrk="1" fontAlgn="auto" latinLnBrk="0" hangingPunct="1">
        <a:lnSpc>
          <a:spcPct val="90000"/>
        </a:lnSpc>
        <a:spcBef>
          <a:spcPct val="20000"/>
        </a:spcBef>
        <a:spcAft>
          <a:spcPts val="0"/>
        </a:spcAft>
        <a:buClrTx/>
        <a:buSzPct val="90000"/>
        <a:buFont typeface="Arial" pitchFamily="34" charset="0"/>
        <a:buNone/>
        <a:tabLst/>
        <a:defRPr sz="1050" b="0" i="0" kern="1200" spc="0" baseline="0">
          <a:solidFill>
            <a:srgbClr val="000000"/>
          </a:solidFill>
          <a:latin typeface="Segoe UI" panose="020B0502040204020203" pitchFamily="34" charset="0"/>
          <a:ea typeface="+mn-ea"/>
          <a:cs typeface="Segoe UI" panose="020B0502040204020203" pitchFamily="34" charset="0"/>
        </a:defRPr>
      </a:lvl5pPr>
      <a:lvl6pPr marL="1885520"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42"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64"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986"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4" rtl="0" eaLnBrk="1" latinLnBrk="0" hangingPunct="1">
        <a:defRPr sz="1324" kern="1200">
          <a:solidFill>
            <a:schemeClr val="tx1"/>
          </a:solidFill>
          <a:latin typeface="+mn-lt"/>
          <a:ea typeface="+mn-ea"/>
          <a:cs typeface="+mn-cs"/>
        </a:defRPr>
      </a:lvl1pPr>
      <a:lvl2pPr marL="342821" algn="l" defTabSz="685644" rtl="0" eaLnBrk="1" latinLnBrk="0" hangingPunct="1">
        <a:defRPr sz="1324" kern="1200">
          <a:solidFill>
            <a:schemeClr val="tx1"/>
          </a:solidFill>
          <a:latin typeface="+mn-lt"/>
          <a:ea typeface="+mn-ea"/>
          <a:cs typeface="+mn-cs"/>
        </a:defRPr>
      </a:lvl2pPr>
      <a:lvl3pPr marL="685644" algn="l" defTabSz="685644" rtl="0" eaLnBrk="1" latinLnBrk="0" hangingPunct="1">
        <a:defRPr sz="1324" kern="1200">
          <a:solidFill>
            <a:schemeClr val="tx1"/>
          </a:solidFill>
          <a:latin typeface="+mn-lt"/>
          <a:ea typeface="+mn-ea"/>
          <a:cs typeface="+mn-cs"/>
        </a:defRPr>
      </a:lvl3pPr>
      <a:lvl4pPr marL="1028465" algn="l" defTabSz="685644" rtl="0" eaLnBrk="1" latinLnBrk="0" hangingPunct="1">
        <a:defRPr sz="1324" kern="1200">
          <a:solidFill>
            <a:schemeClr val="tx1"/>
          </a:solidFill>
          <a:latin typeface="+mn-lt"/>
          <a:ea typeface="+mn-ea"/>
          <a:cs typeface="+mn-cs"/>
        </a:defRPr>
      </a:lvl4pPr>
      <a:lvl5pPr marL="1371287" algn="l" defTabSz="685644" rtl="0" eaLnBrk="1" latinLnBrk="0" hangingPunct="1">
        <a:defRPr sz="1324" kern="1200">
          <a:solidFill>
            <a:schemeClr val="tx1"/>
          </a:solidFill>
          <a:latin typeface="+mn-lt"/>
          <a:ea typeface="+mn-ea"/>
          <a:cs typeface="+mn-cs"/>
        </a:defRPr>
      </a:lvl5pPr>
      <a:lvl6pPr marL="1714109" algn="l" defTabSz="685644" rtl="0" eaLnBrk="1" latinLnBrk="0" hangingPunct="1">
        <a:defRPr sz="1324" kern="1200">
          <a:solidFill>
            <a:schemeClr val="tx1"/>
          </a:solidFill>
          <a:latin typeface="+mn-lt"/>
          <a:ea typeface="+mn-ea"/>
          <a:cs typeface="+mn-cs"/>
        </a:defRPr>
      </a:lvl6pPr>
      <a:lvl7pPr marL="2056931" algn="l" defTabSz="685644" rtl="0" eaLnBrk="1" latinLnBrk="0" hangingPunct="1">
        <a:defRPr sz="1324" kern="1200">
          <a:solidFill>
            <a:schemeClr val="tx1"/>
          </a:solidFill>
          <a:latin typeface="+mn-lt"/>
          <a:ea typeface="+mn-ea"/>
          <a:cs typeface="+mn-cs"/>
        </a:defRPr>
      </a:lvl7pPr>
      <a:lvl8pPr marL="2399753" algn="l" defTabSz="685644" rtl="0" eaLnBrk="1" latinLnBrk="0" hangingPunct="1">
        <a:defRPr sz="1324" kern="1200">
          <a:solidFill>
            <a:schemeClr val="tx1"/>
          </a:solidFill>
          <a:latin typeface="+mn-lt"/>
          <a:ea typeface="+mn-ea"/>
          <a:cs typeface="+mn-cs"/>
        </a:defRPr>
      </a:lvl8pPr>
      <a:lvl9pPr marL="2742575" algn="l" defTabSz="685644"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92526A-3922-2C49-8822-38986A3EA703}"/>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78772-6ACF-9746-8FC5-EB1D3952E14C}"/>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461B2-BD98-1847-A449-482E17EB7210}"/>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Segoe UI" panose="020B0502040204020203" pitchFamily="34" charset="0"/>
                <a:cs typeface="Segoe UI" panose="020B0502040204020203" pitchFamily="34" charset="0"/>
              </a:defRPr>
            </a:lvl1pPr>
          </a:lstStyle>
          <a:p>
            <a:fld id="{AA2F70D6-4604-6C4F-89F6-E619BF8DB3CA}" type="datetimeFigureOut">
              <a:rPr lang="en-US" smtClean="0"/>
              <a:pPr/>
              <a:t>4/10/2020</a:t>
            </a:fld>
            <a:endParaRPr lang="en-US"/>
          </a:p>
        </p:txBody>
      </p:sp>
      <p:sp>
        <p:nvSpPr>
          <p:cNvPr id="5" name="Footer Placeholder 4">
            <a:extLst>
              <a:ext uri="{FF2B5EF4-FFF2-40B4-BE49-F238E27FC236}">
                <a16:creationId xmlns:a16="http://schemas.microsoft.com/office/drawing/2014/main" id="{9633A366-2CD6-4241-AA0A-D90C595F6E0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Segoe UI" panose="020B0502040204020203" pitchFamily="34" charset="0"/>
                <a:cs typeface="Segoe UI"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8AF6E0-23FF-4D41-8A07-0854F190948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Segoe UI" panose="020B0502040204020203" pitchFamily="34" charset="0"/>
                <a:cs typeface="Segoe UI" panose="020B0502040204020203" pitchFamily="34" charset="0"/>
              </a:defRPr>
            </a:lvl1pPr>
          </a:lstStyle>
          <a:p>
            <a:fld id="{C7DD7A0E-3B7C-1D4B-AF07-E791A26DB643}" type="slidenum">
              <a:rPr lang="en-US" smtClean="0"/>
              <a:pPr/>
              <a:t>‹#›</a:t>
            </a:fld>
            <a:endParaRPr lang="en-US"/>
          </a:p>
        </p:txBody>
      </p:sp>
    </p:spTree>
    <p:extLst>
      <p:ext uri="{BB962C8B-B14F-4D97-AF65-F5344CB8AC3E}">
        <p14:creationId xmlns:p14="http://schemas.microsoft.com/office/powerpoint/2010/main" val="150619855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Segoe UI" panose="020B0502040204020203" pitchFamily="34" charset="0"/>
          <a:ea typeface="+mj-ea"/>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Segoe UI" panose="020B0502040204020203" pitchFamily="34" charset="0"/>
          <a:ea typeface="+mn-ea"/>
          <a:cs typeface="Segoe UI" panose="020B050204020402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Segoe UI" panose="020B0502040204020203" pitchFamily="34" charset="0"/>
          <a:ea typeface="+mn-ea"/>
          <a:cs typeface="Segoe UI" panose="020B050204020402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mn-ea"/>
          <a:cs typeface="Segoe UI" panose="020B050204020402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panose="020B0502040204020203" pitchFamily="34" charset="0"/>
          <a:ea typeface="+mn-ea"/>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7392">
          <p15:clr>
            <a:srgbClr val="F26B43"/>
          </p15:clr>
        </p15:guide>
        <p15:guide id="3" orient="horz" pos="768">
          <p15:clr>
            <a:srgbClr val="F26B43"/>
          </p15:clr>
        </p15:guide>
        <p15:guide id="5"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1988134282"/>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237563492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5.jpeg"/></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8.sv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60.svg"/><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69.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4.svg"/><Relationship Id="rId11" Type="http://schemas.openxmlformats.org/officeDocument/2006/relationships/image" Target="../media/image50.png"/><Relationship Id="rId5" Type="http://schemas.openxmlformats.org/officeDocument/2006/relationships/image" Target="../media/image63.png"/><Relationship Id="rId10" Type="http://schemas.openxmlformats.org/officeDocument/2006/relationships/hyperlink" Target="https://sussexazure.uk/april20review" TargetMode="External"/><Relationship Id="rId4" Type="http://schemas.openxmlformats.org/officeDocument/2006/relationships/image" Target="../media/image62.svg"/><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375.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041B32A-7E40-4D4B-ACE4-D8C665F8B323}"/>
              </a:ext>
            </a:extLst>
          </p:cNvPr>
          <p:cNvSpPr txBox="1"/>
          <p:nvPr/>
        </p:nvSpPr>
        <p:spPr>
          <a:xfrm>
            <a:off x="1942015" y="87917"/>
            <a:ext cx="525997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3200" b="1">
                <a:solidFill>
                  <a:srgbClr val="2E93B8"/>
                </a:solidFill>
                <a:latin typeface="Roboto Mono Medium for Powerlin" pitchFamily="2" charset="0"/>
                <a:ea typeface="Roboto Mono Medium for Powerlin" pitchFamily="2" charset="0"/>
              </a:rPr>
              <a:t>April 2020 Meetup</a:t>
            </a:r>
            <a:endParaRPr kumimoji="0" lang="en-GB" sz="2400" b="1" i="0" u="none" strike="noStrike" cap="none" spc="0" normalizeH="0" baseline="0">
              <a:ln>
                <a:noFill/>
              </a:ln>
              <a:solidFill>
                <a:srgbClr val="2E93B8"/>
              </a:solidFill>
              <a:effectLst/>
              <a:uFillTx/>
              <a:latin typeface="Roboto Mono Medium for Powerlin" pitchFamily="2" charset="0"/>
              <a:ea typeface="Roboto Mono Medium for Powerlin" pitchFamily="2" charset="0"/>
              <a:sym typeface="Arial"/>
            </a:endParaRPr>
          </a:p>
        </p:txBody>
      </p:sp>
      <p:sp>
        <p:nvSpPr>
          <p:cNvPr id="10" name="TextBox 9">
            <a:extLst>
              <a:ext uri="{FF2B5EF4-FFF2-40B4-BE49-F238E27FC236}">
                <a16:creationId xmlns:a16="http://schemas.microsoft.com/office/drawing/2014/main" id="{1B800DE3-CF57-4603-8854-4529CC0A5DD9}"/>
              </a:ext>
            </a:extLst>
          </p:cNvPr>
          <p:cNvSpPr txBox="1"/>
          <p:nvPr/>
        </p:nvSpPr>
        <p:spPr>
          <a:xfrm>
            <a:off x="2126343" y="4328490"/>
            <a:ext cx="4891314"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000" b="1">
                <a:solidFill>
                  <a:srgbClr val="2E93B8"/>
                </a:solidFill>
                <a:latin typeface="Roboto Mono Medium for Powerlin" pitchFamily="2" charset="0"/>
                <a:ea typeface="Roboto Mono Medium for Powerlin" pitchFamily="2" charset="0"/>
              </a:rPr>
              <a:t>@ Microsoft Teams Meeting</a:t>
            </a:r>
            <a:endParaRPr kumimoji="0" lang="en-GB" sz="1600" b="1" i="0" u="none" strike="noStrike" cap="none" spc="0" normalizeH="0" baseline="0">
              <a:ln>
                <a:noFill/>
              </a:ln>
              <a:solidFill>
                <a:srgbClr val="2E93B8"/>
              </a:solidFill>
              <a:effectLst/>
              <a:uFillTx/>
              <a:latin typeface="Roboto Mono Medium for Powerlin" pitchFamily="2" charset="0"/>
              <a:ea typeface="Roboto Mono Medium for Powerlin" pitchFamily="2" charset="0"/>
              <a:sym typeface="Arial"/>
            </a:endParaRPr>
          </a:p>
        </p:txBody>
      </p:sp>
      <p:pic>
        <p:nvPicPr>
          <p:cNvPr id="3" name="Picture 2" descr="A close up of a building&#10;&#10;Description automatically generated">
            <a:extLst>
              <a:ext uri="{FF2B5EF4-FFF2-40B4-BE49-F238E27FC236}">
                <a16:creationId xmlns:a16="http://schemas.microsoft.com/office/drawing/2014/main" id="{DD7B28EA-F684-4C7F-888D-41E396807A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5143"/>
            <a:ext cx="9144000" cy="2913214"/>
          </a:xfrm>
          <a:prstGeom prst="rect">
            <a:avLst/>
          </a:prstGeom>
        </p:spPr>
      </p:pic>
    </p:spTree>
    <p:extLst>
      <p:ext uri="{BB962C8B-B14F-4D97-AF65-F5344CB8AC3E}">
        <p14:creationId xmlns:p14="http://schemas.microsoft.com/office/powerpoint/2010/main" val="1620967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1279089"/>
            <a:ext cx="8759388" cy="25853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lvl="0" indent="-285750">
              <a:lnSpc>
                <a:spcPct val="150000"/>
              </a:lnSpc>
              <a:buFont typeface="Arial" panose="020B0604020202020204" pitchFamily="34" charset="0"/>
              <a:buChar char="•"/>
            </a:pPr>
            <a:r>
              <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Where do you start?</a:t>
            </a:r>
            <a:endParaRPr lang="en-GB" sz="1800" b="1" noProof="0" dirty="0">
              <a:solidFill>
                <a:srgbClr val="2E93B8"/>
              </a:solidFill>
              <a:latin typeface="Roboto Mono Medium for Powerlin" pitchFamily="2" charset="0"/>
              <a:ea typeface="Roboto Mono Medium for Powerlin" pitchFamily="2" charset="0"/>
            </a:endParaRPr>
          </a:p>
          <a:p>
            <a:pPr marL="285750" lvl="0" indent="-285750">
              <a:lnSpc>
                <a:spcPct val="150000"/>
              </a:lnSpc>
              <a:buFont typeface="Arial" panose="020B0604020202020204" pitchFamily="34" charset="0"/>
              <a:buChar char="•"/>
            </a:pPr>
            <a:r>
              <a:rPr kumimoji="0" lang="en-GB" sz="1800" b="1" u="none" strike="noStrike" kern="0" cap="none" spc="0" normalizeH="0" baseline="0" dirty="0">
                <a:ln>
                  <a:noFill/>
                </a:ln>
                <a:solidFill>
                  <a:srgbClr val="2E93B8"/>
                </a:solidFill>
                <a:effectLst/>
                <a:uLnTx/>
                <a:uFillTx/>
                <a:latin typeface="Roboto Mono Medium for Powerlin" pitchFamily="2" charset="0"/>
                <a:ea typeface="Roboto Mono Medium for Powerlin" pitchFamily="2" charset="0"/>
                <a:cs typeface="Arial"/>
                <a:sym typeface="Arial"/>
              </a:rPr>
              <a:t>Resources</a:t>
            </a:r>
            <a:r>
              <a:rPr kumimoji="0" lang="en-GB" sz="1800" b="1" u="none" strike="noStrike" kern="0" cap="none" spc="0" normalizeH="0" dirty="0">
                <a:ln>
                  <a:noFill/>
                </a:ln>
                <a:solidFill>
                  <a:srgbClr val="2E93B8"/>
                </a:solidFill>
                <a:effectLst/>
                <a:uLnTx/>
                <a:uFillTx/>
                <a:latin typeface="Roboto Mono Medium for Powerlin" pitchFamily="2" charset="0"/>
                <a:ea typeface="Roboto Mono Medium for Powerlin" pitchFamily="2" charset="0"/>
                <a:cs typeface="Arial"/>
                <a:sym typeface="Arial"/>
              </a:rPr>
              <a:t> available to help you study?</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Committing time to study – Before/After Work</a:t>
            </a:r>
          </a:p>
          <a:p>
            <a:pPr marL="285750" lvl="0" indent="-285750">
              <a:lnSpc>
                <a:spcPct val="150000"/>
              </a:lnSpc>
              <a:buFont typeface="Arial" panose="020B0604020202020204" pitchFamily="34" charset="0"/>
              <a:buChar char="•"/>
            </a:pPr>
            <a:r>
              <a:rPr kumimoji="0" lang="en-GB" sz="1800" b="1" u="none" strike="noStrike" kern="0" cap="none" spc="0" normalizeH="0" dirty="0">
                <a:ln>
                  <a:noFill/>
                </a:ln>
                <a:solidFill>
                  <a:srgbClr val="2E93B8"/>
                </a:solidFill>
                <a:effectLst/>
                <a:uLnTx/>
                <a:uFillTx/>
                <a:latin typeface="Roboto Mono Medium for Powerlin" pitchFamily="2" charset="0"/>
                <a:ea typeface="Roboto Mono Medium for Powerlin" pitchFamily="2" charset="0"/>
                <a:cs typeface="Arial"/>
                <a:sym typeface="Arial"/>
              </a:rPr>
              <a:t>Getting hands on with Azure directly</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Practice exams – worth it?</a:t>
            </a:r>
            <a:endParaRPr kumimoji="0" lang="en-GB" sz="1800" b="1" u="none" strike="noStrike" kern="0" cap="none" spc="0" normalizeH="0" dirty="0">
              <a:ln>
                <a:noFill/>
              </a:ln>
              <a:solidFill>
                <a:srgbClr val="2E93B8"/>
              </a:solidFill>
              <a:effectLst/>
              <a:uLnTx/>
              <a:uFillTx/>
              <a:latin typeface="Roboto Mono Medium for Powerlin" pitchFamily="2" charset="0"/>
              <a:ea typeface="Roboto Mono Medium for Powerlin" pitchFamily="2" charset="0"/>
              <a:cs typeface="Arial"/>
              <a:sym typeface="Arial"/>
            </a:endParaRPr>
          </a:p>
          <a:p>
            <a:pPr marL="285750" lvl="0" indent="-285750">
              <a:lnSpc>
                <a:spcPct val="150000"/>
              </a:lnSpc>
              <a:buFont typeface="Arial" panose="020B0604020202020204" pitchFamily="34" charset="0"/>
              <a:buChar char="•"/>
            </a:pPr>
            <a:endPar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1" y="185944"/>
            <a:ext cx="1942800"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STUDYING</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2677086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787245"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PAUL’S MINDMAP</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pic>
        <p:nvPicPr>
          <p:cNvPr id="3" name="Picture 2" descr="A picture containing text, whiteboard&#10;&#10;Description automatically generated">
            <a:extLst>
              <a:ext uri="{FF2B5EF4-FFF2-40B4-BE49-F238E27FC236}">
                <a16:creationId xmlns:a16="http://schemas.microsoft.com/office/drawing/2014/main" id="{072206D6-4748-4D59-8587-55CEA670E5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9082" y="499777"/>
            <a:ext cx="7025836" cy="4553782"/>
          </a:xfrm>
          <a:prstGeom prst="rect">
            <a:avLst/>
          </a:prstGeom>
        </p:spPr>
      </p:pic>
    </p:spTree>
    <p:extLst>
      <p:ext uri="{BB962C8B-B14F-4D97-AF65-F5344CB8AC3E}">
        <p14:creationId xmlns:p14="http://schemas.microsoft.com/office/powerpoint/2010/main" val="1088687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79882" y="655842"/>
            <a:ext cx="8784236" cy="383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lvl="0" indent="-285750">
              <a:lnSpc>
                <a:spcPct val="150000"/>
              </a:lnSpc>
              <a:buFont typeface="Arial" panose="020B0604020202020204" pitchFamily="34" charset="0"/>
              <a:buChar char="•"/>
            </a:pPr>
            <a:r>
              <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Microsoft Learn – </a:t>
            </a:r>
            <a:r>
              <a:rPr kumimoji="0" lang="en-GB" sz="1800" b="1" i="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aka.ms/learn </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Pluralsight – </a:t>
            </a:r>
            <a:r>
              <a:rPr lang="en-GB" sz="1800" b="1" i="1" dirty="0">
                <a:solidFill>
                  <a:srgbClr val="2E93B8"/>
                </a:solidFill>
                <a:latin typeface="Roboto Mono Medium for Powerlin" pitchFamily="2" charset="0"/>
                <a:ea typeface="Roboto Mono Medium for Powerlin" pitchFamily="2" charset="0"/>
              </a:rPr>
              <a:t>pluralsight.com</a:t>
            </a:r>
          </a:p>
          <a:p>
            <a:pPr marL="285750" lvl="0" indent="-285750">
              <a:lnSpc>
                <a:spcPct val="150000"/>
              </a:lnSpc>
              <a:buFont typeface="Arial" panose="020B0604020202020204" pitchFamily="34" charset="0"/>
              <a:buChar char="•"/>
            </a:pPr>
            <a:r>
              <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Udemy – </a:t>
            </a:r>
            <a:r>
              <a:rPr kumimoji="0" lang="en-GB" sz="1800" b="1" i="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udemy.com</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Skylines Academy – </a:t>
            </a:r>
            <a:r>
              <a:rPr lang="en-GB" sz="1800" b="1" i="1" dirty="0">
                <a:solidFill>
                  <a:srgbClr val="2E93B8"/>
                </a:solidFill>
                <a:latin typeface="Roboto Mono Medium for Powerlin" pitchFamily="2" charset="0"/>
                <a:ea typeface="Roboto Mono Medium for Powerlin" pitchFamily="2" charset="0"/>
              </a:rPr>
              <a:t>skylinesacademy.com </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edX – </a:t>
            </a:r>
            <a:r>
              <a:rPr lang="en-GB" sz="1800" b="1" i="1" dirty="0">
                <a:solidFill>
                  <a:srgbClr val="2E93B8"/>
                </a:solidFill>
                <a:latin typeface="Roboto Mono Medium for Powerlin" pitchFamily="2" charset="0"/>
                <a:ea typeface="Roboto Mono Medium for Powerlin" pitchFamily="2" charset="0"/>
              </a:rPr>
              <a:t>edx.org</a:t>
            </a:r>
            <a:r>
              <a:rPr lang="en-GB" sz="1800" b="1" dirty="0">
                <a:solidFill>
                  <a:srgbClr val="2E93B8"/>
                </a:solidFill>
                <a:latin typeface="Roboto Mono Medium for Powerlin" pitchFamily="2" charset="0"/>
                <a:ea typeface="Roboto Mono Medium for Powerlin" pitchFamily="2" charset="0"/>
              </a:rPr>
              <a:t> </a:t>
            </a:r>
          </a:p>
          <a:p>
            <a:pPr marL="285750" lvl="0" indent="-285750">
              <a:lnSpc>
                <a:spcPct val="150000"/>
              </a:lnSpc>
              <a:buFont typeface="Arial" panose="020B0604020202020204" pitchFamily="34" charset="0"/>
              <a:buChar char="•"/>
            </a:pPr>
            <a:r>
              <a:rPr lang="en-GB" sz="1800" b="1" dirty="0" err="1">
                <a:solidFill>
                  <a:srgbClr val="2E93B8"/>
                </a:solidFill>
                <a:latin typeface="Roboto Mono Medium for Powerlin" pitchFamily="2" charset="0"/>
                <a:ea typeface="Roboto Mono Medium for Powerlin" pitchFamily="2" charset="0"/>
              </a:rPr>
              <a:t>Measureup</a:t>
            </a:r>
            <a:r>
              <a:rPr lang="en-GB" sz="1800" b="1" dirty="0">
                <a:solidFill>
                  <a:srgbClr val="2E93B8"/>
                </a:solidFill>
                <a:latin typeface="Roboto Mono Medium for Powerlin" pitchFamily="2" charset="0"/>
                <a:ea typeface="Roboto Mono Medium for Powerlin" pitchFamily="2" charset="0"/>
              </a:rPr>
              <a:t> – </a:t>
            </a:r>
            <a:r>
              <a:rPr lang="en-GB" sz="1800" b="1" i="1" dirty="0">
                <a:solidFill>
                  <a:srgbClr val="2E93B8"/>
                </a:solidFill>
                <a:latin typeface="Roboto Mono Medium for Powerlin" pitchFamily="2" charset="0"/>
                <a:ea typeface="Roboto Mono Medium for Powerlin" pitchFamily="2" charset="0"/>
              </a:rPr>
              <a:t>measureup.com</a:t>
            </a:r>
          </a:p>
          <a:p>
            <a:pPr marL="285750" lvl="0" indent="-285750">
              <a:lnSpc>
                <a:spcPct val="150000"/>
              </a:lnSpc>
              <a:buFont typeface="Arial" panose="020B0604020202020204" pitchFamily="34" charset="0"/>
              <a:buChar char="•"/>
            </a:pPr>
            <a:r>
              <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Microsoft</a:t>
            </a:r>
            <a:r>
              <a:rPr kumimoji="0" lang="en-GB" sz="1800" b="1" u="none" strike="noStrike" kern="0" cap="none" spc="0" normalizeH="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 Partner Training </a:t>
            </a:r>
            <a:r>
              <a:rPr lang="en-GB" sz="1800" b="1" noProof="0" dirty="0">
                <a:solidFill>
                  <a:srgbClr val="2E93B8"/>
                </a:solidFill>
                <a:latin typeface="Roboto Mono Medium for Powerlin" pitchFamily="2" charset="0"/>
                <a:ea typeface="Roboto Mono Medium for Powerlin" pitchFamily="2" charset="0"/>
              </a:rPr>
              <a:t>– </a:t>
            </a:r>
            <a:br>
              <a:rPr lang="en-GB" sz="1800" b="1" noProof="0" dirty="0">
                <a:solidFill>
                  <a:srgbClr val="2E93B8"/>
                </a:solidFill>
                <a:latin typeface="Roboto Mono Medium for Powerlin" pitchFamily="2" charset="0"/>
                <a:ea typeface="Roboto Mono Medium for Powerlin" pitchFamily="2" charset="0"/>
              </a:rPr>
            </a:br>
            <a:r>
              <a:rPr lang="en-GB" sz="1800" b="1" noProof="0" dirty="0">
                <a:solidFill>
                  <a:srgbClr val="2E93B8"/>
                </a:solidFill>
                <a:latin typeface="Roboto Mono Medium for Powerlin" pitchFamily="2" charset="0"/>
                <a:ea typeface="Roboto Mono Medium for Powerlin" pitchFamily="2" charset="0"/>
              </a:rPr>
              <a:t>	</a:t>
            </a:r>
            <a:r>
              <a:rPr lang="en-GB" sz="1800" b="1" i="1" noProof="0" dirty="0">
                <a:solidFill>
                  <a:srgbClr val="2E93B8"/>
                </a:solidFill>
                <a:latin typeface="Roboto Mono Medium for Powerlin" pitchFamily="2" charset="0"/>
                <a:ea typeface="Roboto Mono Medium for Powerlin" pitchFamily="2" charset="0"/>
              </a:rPr>
              <a:t>p</a:t>
            </a:r>
            <a:r>
              <a:rPr lang="en-GB" sz="1800" b="1" i="1" dirty="0">
                <a:solidFill>
                  <a:srgbClr val="2E93B8"/>
                </a:solidFill>
                <a:latin typeface="Roboto Mono Medium for Powerlin" pitchFamily="2" charset="0"/>
                <a:ea typeface="Roboto Mono Medium for Powerlin" pitchFamily="2" charset="0"/>
              </a:rPr>
              <a:t>artner.microsoft.com/</a:t>
            </a:r>
            <a:r>
              <a:rPr lang="en-GB" sz="1800" b="1" i="1" dirty="0" err="1">
                <a:solidFill>
                  <a:srgbClr val="2E93B8"/>
                </a:solidFill>
                <a:latin typeface="Roboto Mono Medium for Powerlin" pitchFamily="2" charset="0"/>
                <a:ea typeface="Roboto Mono Medium for Powerlin" pitchFamily="2" charset="0"/>
              </a:rPr>
              <a:t>en-gb</a:t>
            </a:r>
            <a:r>
              <a:rPr lang="en-GB" sz="1800" b="1" i="1" dirty="0">
                <a:solidFill>
                  <a:srgbClr val="2E93B8"/>
                </a:solidFill>
                <a:latin typeface="Roboto Mono Medium for Powerlin" pitchFamily="2" charset="0"/>
                <a:ea typeface="Roboto Mono Medium for Powerlin" pitchFamily="2" charset="0"/>
              </a:rPr>
              <a:t>/training/assets#/?type=Exam</a:t>
            </a:r>
          </a:p>
          <a:p>
            <a:pPr marL="285750" lvl="0" indent="-285750">
              <a:lnSpc>
                <a:spcPct val="150000"/>
              </a:lnSpc>
              <a:buFont typeface="Arial" panose="020B0604020202020204" pitchFamily="34" charset="0"/>
              <a:buChar char="•"/>
            </a:pPr>
            <a:r>
              <a:rPr lang="en-GB" sz="1800" b="1" noProof="0" dirty="0">
                <a:solidFill>
                  <a:srgbClr val="2E93B8"/>
                </a:solidFill>
                <a:latin typeface="Roboto Mono Medium for Powerlin" pitchFamily="2" charset="0"/>
                <a:ea typeface="Roboto Mono Medium for Powerlin" pitchFamily="2" charset="0"/>
              </a:rPr>
              <a:t>#</a:t>
            </a:r>
            <a:r>
              <a:rPr lang="en-GB" sz="1800" b="1" noProof="0" dirty="0" err="1">
                <a:solidFill>
                  <a:srgbClr val="2E93B8"/>
                </a:solidFill>
                <a:latin typeface="Roboto Mono Medium for Powerlin" pitchFamily="2" charset="0"/>
                <a:ea typeface="Roboto Mono Medium for Powerlin" pitchFamily="2" charset="0"/>
              </a:rPr>
              <a:t>AzureFamily</a:t>
            </a:r>
            <a:r>
              <a:rPr lang="en-GB" sz="1800" b="1" noProof="0" dirty="0">
                <a:solidFill>
                  <a:srgbClr val="2E93B8"/>
                </a:solidFill>
                <a:latin typeface="Roboto Mono Medium for Powerlin" pitchFamily="2" charset="0"/>
                <a:ea typeface="Roboto Mono Medium for Powerlin" pitchFamily="2" charset="0"/>
              </a:rPr>
              <a:t> Blogs &amp;</a:t>
            </a:r>
            <a:r>
              <a:rPr lang="en-GB" sz="1800" b="1" dirty="0">
                <a:solidFill>
                  <a:srgbClr val="2E93B8"/>
                </a:solidFill>
                <a:latin typeface="Roboto Mono Medium for Powerlin" pitchFamily="2" charset="0"/>
                <a:ea typeface="Roboto Mono Medium for Powerlin" pitchFamily="2" charset="0"/>
              </a:rPr>
              <a:t> #</a:t>
            </a:r>
            <a:r>
              <a:rPr lang="en-GB" sz="1800" b="1" dirty="0" err="1">
                <a:solidFill>
                  <a:srgbClr val="2E93B8"/>
                </a:solidFill>
                <a:latin typeface="Roboto Mono Medium for Powerlin" pitchFamily="2" charset="0"/>
                <a:ea typeface="Roboto Mono Medium for Powerlin" pitchFamily="2" charset="0"/>
              </a:rPr>
              <a:t>CloudFamily</a:t>
            </a:r>
            <a:r>
              <a:rPr lang="en-GB" sz="1800" b="1" dirty="0">
                <a:solidFill>
                  <a:srgbClr val="2E93B8"/>
                </a:solidFill>
                <a:latin typeface="Roboto Mono Medium for Powerlin" pitchFamily="2" charset="0"/>
                <a:ea typeface="Roboto Mono Medium for Powerlin" pitchFamily="2" charset="0"/>
              </a:rPr>
              <a:t> – </a:t>
            </a:r>
            <a:r>
              <a:rPr lang="en-GB" sz="1800" b="1" i="1" dirty="0">
                <a:solidFill>
                  <a:srgbClr val="2E93B8"/>
                </a:solidFill>
                <a:latin typeface="Roboto Mono Medium for Powerlin" pitchFamily="2" charset="0"/>
                <a:ea typeface="Roboto Mono Medium for Powerlin" pitchFamily="2" charset="0"/>
              </a:rPr>
              <a:t>cloudfamily.info/blogs/</a:t>
            </a:r>
            <a:r>
              <a:rPr lang="en-GB" sz="1800" b="1" i="1" dirty="0" err="1">
                <a:solidFill>
                  <a:srgbClr val="2E93B8"/>
                </a:solidFill>
                <a:latin typeface="Roboto Mono Medium for Powerlin" pitchFamily="2" charset="0"/>
                <a:ea typeface="Roboto Mono Medium for Powerlin" pitchFamily="2" charset="0"/>
              </a:rPr>
              <a:t>azure_blogs</a:t>
            </a:r>
            <a:endParaRPr kumimoji="0" lang="en-GB" sz="1800" b="1" i="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3067061"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STUDY RESOURCES</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40894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Effect transition="in" filter="fade">
                                      <p:cBhvr>
                                        <p:cTn id="25" dur="500"/>
                                        <p:tgtEl>
                                          <p:spTgt spid="10">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xEl>
                                              <p:pRg st="7" end="7"/>
                                            </p:txEl>
                                          </p:spTgt>
                                        </p:tgtEl>
                                        <p:attrNameLst>
                                          <p:attrName>style.visibility</p:attrName>
                                        </p:attrNameLst>
                                      </p:cBhvr>
                                      <p:to>
                                        <p:strVal val="visible"/>
                                      </p:to>
                                    </p:set>
                                    <p:animEffect transition="in" filter="fade">
                                      <p:cBhvr>
                                        <p:cTn id="28"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4239896"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AZURE LEARNING EXPLORER</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pic>
        <p:nvPicPr>
          <p:cNvPr id="2" name="Picture 1">
            <a:extLst>
              <a:ext uri="{FF2B5EF4-FFF2-40B4-BE49-F238E27FC236}">
                <a16:creationId xmlns:a16="http://schemas.microsoft.com/office/drawing/2014/main" id="{1C3AB451-507D-4FD1-89AE-48852F97045F}"/>
              </a:ext>
            </a:extLst>
          </p:cNvPr>
          <p:cNvPicPr>
            <a:picLocks noChangeAspect="1"/>
          </p:cNvPicPr>
          <p:nvPr/>
        </p:nvPicPr>
        <p:blipFill rotWithShape="1">
          <a:blip r:embed="rId4"/>
          <a:srcRect r="1205"/>
          <a:stretch/>
        </p:blipFill>
        <p:spPr>
          <a:xfrm>
            <a:off x="668041" y="643289"/>
            <a:ext cx="7807917" cy="3856921"/>
          </a:xfrm>
          <a:prstGeom prst="rect">
            <a:avLst/>
          </a:prstGeom>
        </p:spPr>
      </p:pic>
      <p:sp>
        <p:nvSpPr>
          <p:cNvPr id="11" name="TextBox 10">
            <a:extLst>
              <a:ext uri="{FF2B5EF4-FFF2-40B4-BE49-F238E27FC236}">
                <a16:creationId xmlns:a16="http://schemas.microsoft.com/office/drawing/2014/main" id="{7E791B8C-708B-48EC-B09F-B9A16403B2E7}"/>
              </a:ext>
            </a:extLst>
          </p:cNvPr>
          <p:cNvSpPr txBox="1"/>
          <p:nvPr/>
        </p:nvSpPr>
        <p:spPr>
          <a:xfrm>
            <a:off x="1390454" y="4435614"/>
            <a:ext cx="6363090"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ctr"/>
            <a:r>
              <a:rPr lang="en-GB" sz="4000" b="1" i="1">
                <a:solidFill>
                  <a:srgbClr val="2E93B8"/>
                </a:solidFill>
                <a:latin typeface="Roboto Mono Medium for Powerlin" pitchFamily="2" charset="0"/>
                <a:ea typeface="Roboto Mono Medium for Powerlin" pitchFamily="2" charset="0"/>
              </a:rPr>
              <a:t>azurecharts.com/learning</a:t>
            </a:r>
          </a:p>
        </p:txBody>
      </p:sp>
    </p:spTree>
    <p:extLst>
      <p:ext uri="{BB962C8B-B14F-4D97-AF65-F5344CB8AC3E}">
        <p14:creationId xmlns:p14="http://schemas.microsoft.com/office/powerpoint/2010/main" val="2962626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1486838"/>
            <a:ext cx="8759388" cy="21698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lvl="0" indent="-285750">
              <a:lnSpc>
                <a:spcPct val="150000"/>
              </a:lnSpc>
              <a:buFont typeface="Arial" panose="020B0604020202020204" pitchFamily="34" charset="0"/>
              <a:buChar char="•"/>
            </a:pPr>
            <a:r>
              <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rPr>
              <a:t>Don’t see it as a negative</a:t>
            </a:r>
          </a:p>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Treat it as a positive thing, experience gained etc.</a:t>
            </a:r>
          </a:p>
          <a:p>
            <a:pPr marL="285750" lvl="0" indent="-285750">
              <a:lnSpc>
                <a:spcPct val="150000"/>
              </a:lnSpc>
              <a:buFont typeface="Arial" panose="020B0604020202020204" pitchFamily="34" charset="0"/>
              <a:buChar char="•"/>
            </a:pPr>
            <a:r>
              <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rPr>
              <a:t>Get</a:t>
            </a:r>
            <a:r>
              <a:rPr kumimoji="0" lang="en-GB" sz="1800" b="1" u="none" strike="noStrike" kern="0" cap="none" spc="0" normalizeH="0" noProof="0">
                <a:ln>
                  <a:noFill/>
                </a:ln>
                <a:solidFill>
                  <a:srgbClr val="2E93B8"/>
                </a:solidFill>
                <a:effectLst/>
                <a:uLnTx/>
                <a:uFillTx/>
                <a:latin typeface="Roboto Mono Medium for Powerlin" pitchFamily="2" charset="0"/>
                <a:ea typeface="Roboto Mono Medium for Powerlin" pitchFamily="2" charset="0"/>
                <a:cs typeface="Arial"/>
                <a:sym typeface="Arial"/>
              </a:rPr>
              <a:t> straight back on the horse – book the re-take ASAP</a:t>
            </a:r>
          </a:p>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Utilise Exam Replay offer</a:t>
            </a:r>
            <a:endParaRPr kumimoji="0" lang="en-GB" sz="1800" b="1" u="none" strike="noStrike" kern="0" cap="none" spc="0" normalizeH="0" noProof="0">
              <a:ln>
                <a:noFill/>
              </a:ln>
              <a:solidFill>
                <a:srgbClr val="2E93B8"/>
              </a:solidFill>
              <a:effectLst/>
              <a:uLnTx/>
              <a:uFillTx/>
              <a:latin typeface="Roboto Mono Medium for Powerlin" pitchFamily="2" charset="0"/>
              <a:ea typeface="Roboto Mono Medium for Powerlin" pitchFamily="2" charset="0"/>
              <a:cs typeface="Arial"/>
              <a:sym typeface="Arial"/>
            </a:endParaRPr>
          </a:p>
          <a:p>
            <a:pPr marL="285750" lvl="0" indent="-285750">
              <a:lnSpc>
                <a:spcPct val="150000"/>
              </a:lnSpc>
              <a:buFont typeface="Arial" panose="020B0604020202020204" pitchFamily="34" charset="0"/>
              <a:buChar char="•"/>
            </a:pPr>
            <a:endPar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742275"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WHAT IF I FAIL?</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17774970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222837"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QUESTIONS?</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pic>
        <p:nvPicPr>
          <p:cNvPr id="3" name="Graphic 2" descr="Questions">
            <a:extLst>
              <a:ext uri="{FF2B5EF4-FFF2-40B4-BE49-F238E27FC236}">
                <a16:creationId xmlns:a16="http://schemas.microsoft.com/office/drawing/2014/main" id="{FA475E68-035D-495C-B506-3D31708D04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66029" y="865779"/>
            <a:ext cx="3411941" cy="3411941"/>
          </a:xfrm>
          <a:prstGeom prst="rect">
            <a:avLst/>
          </a:prstGeom>
        </p:spPr>
      </p:pic>
    </p:spTree>
    <p:extLst>
      <p:ext uri="{BB962C8B-B14F-4D97-AF65-F5344CB8AC3E}">
        <p14:creationId xmlns:p14="http://schemas.microsoft.com/office/powerpoint/2010/main" val="1014973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611560" y="823233"/>
            <a:ext cx="7920880" cy="12464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1" indent="0" algn="ctr" defTabSz="914400" rtl="0" eaLnBrk="1" fontAlgn="auto" latinLnBrk="0" hangingPunct="0">
              <a:lnSpc>
                <a:spcPct val="150000"/>
              </a:lnSpc>
              <a:spcBef>
                <a:spcPts val="0"/>
              </a:spcBef>
              <a:spcAft>
                <a:spcPts val="0"/>
              </a:spcAft>
              <a:buClrTx/>
              <a:buSzTx/>
              <a:buFontTx/>
              <a:buNone/>
              <a:tabLst/>
              <a:defRPr/>
            </a:pPr>
            <a:r>
              <a:rPr kumimoji="0" lang="en-GB" sz="1800" b="1" i="0"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rPr>
              <a:t>Stay tuned to our social feeds and </a:t>
            </a:r>
            <a:r>
              <a:rPr lang="en-GB" sz="1800" b="1">
                <a:solidFill>
                  <a:srgbClr val="2E93B8"/>
                </a:solidFill>
                <a:latin typeface="Roboto Mono Medium for Powerlin" pitchFamily="2" charset="0"/>
                <a:ea typeface="Roboto Mono Medium for Powerlin" pitchFamily="2" charset="0"/>
              </a:rPr>
              <a:t>YouTube channel!</a:t>
            </a:r>
            <a:endParaRPr kumimoji="0" lang="en-GB" sz="1800" b="1" i="0"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endParaRPr>
          </a:p>
          <a:p>
            <a:pPr lvl="0" algn="ctr">
              <a:lnSpc>
                <a:spcPct val="150000"/>
              </a:lnSpc>
            </a:pPr>
            <a:r>
              <a:rPr lang="en-GB" sz="3200" b="1" i="1">
                <a:solidFill>
                  <a:srgbClr val="2E93B8"/>
                </a:solidFill>
                <a:latin typeface="Roboto Mono Medium for Powerlin" pitchFamily="2" charset="0"/>
                <a:ea typeface="Roboto Mono Medium for Powerlin" pitchFamily="2" charset="0"/>
              </a:rPr>
              <a:t>sussexazure.uk/</a:t>
            </a:r>
            <a:r>
              <a:rPr lang="en-GB" sz="3200" b="1" i="1" err="1">
                <a:solidFill>
                  <a:srgbClr val="2E93B8"/>
                </a:solidFill>
                <a:latin typeface="Roboto Mono Medium for Powerlin" pitchFamily="2" charset="0"/>
                <a:ea typeface="Roboto Mono Medium for Powerlin" pitchFamily="2" charset="0"/>
              </a:rPr>
              <a:t>youtube</a:t>
            </a:r>
            <a:endParaRPr lang="en-GB" sz="3200" b="1" i="1">
              <a:solidFill>
                <a:srgbClr val="2E93B8"/>
              </a:solidFill>
              <a:latin typeface="Roboto Mono Medium for Powerlin" pitchFamily="2" charset="0"/>
              <a:ea typeface="Roboto Mono Medium for Powerlin" pitchFamily="2" charset="0"/>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4053558"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NEXT MEET UP</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pic>
        <p:nvPicPr>
          <p:cNvPr id="3" name="Graphic 2" descr="Presentation with media">
            <a:extLst>
              <a:ext uri="{FF2B5EF4-FFF2-40B4-BE49-F238E27FC236}">
                <a16:creationId xmlns:a16="http://schemas.microsoft.com/office/drawing/2014/main" id="{E6C37EA0-9D47-4F7F-AD41-6B583555E0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23353" y="2069726"/>
            <a:ext cx="2697293" cy="2697293"/>
          </a:xfrm>
          <a:prstGeom prst="rect">
            <a:avLst/>
          </a:prstGeom>
        </p:spPr>
      </p:pic>
    </p:spTree>
    <p:extLst>
      <p:ext uri="{BB962C8B-B14F-4D97-AF65-F5344CB8AC3E}">
        <p14:creationId xmlns:p14="http://schemas.microsoft.com/office/powerpoint/2010/main" val="2711889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5A513C8-36CB-0543-A7C0-24D6A8F5BDC4}"/>
              </a:ext>
            </a:extLst>
          </p:cNvPr>
          <p:cNvGrpSpPr/>
          <p:nvPr/>
        </p:nvGrpSpPr>
        <p:grpSpPr>
          <a:xfrm>
            <a:off x="467544" y="1152292"/>
            <a:ext cx="5256584" cy="1480418"/>
            <a:chOff x="467544" y="1238094"/>
            <a:chExt cx="3672408" cy="2375293"/>
          </a:xfrm>
        </p:grpSpPr>
        <p:sp>
          <p:nvSpPr>
            <p:cNvPr id="11" name="Shape 45">
              <a:extLst>
                <a:ext uri="{FF2B5EF4-FFF2-40B4-BE49-F238E27FC236}">
                  <a16:creationId xmlns:a16="http://schemas.microsoft.com/office/drawing/2014/main" id="{B590946B-09FD-3E44-8332-2F659C609471}"/>
                </a:ext>
              </a:extLst>
            </p:cNvPr>
            <p:cNvSpPr txBox="1">
              <a:spLocks/>
            </p:cNvSpPr>
            <p:nvPr/>
          </p:nvSpPr>
          <p:spPr>
            <a:xfrm>
              <a:off x="467544" y="1238094"/>
              <a:ext cx="3672408" cy="2375293"/>
            </a:xfrm>
            <a:prstGeom prst="rect">
              <a:avLst/>
            </a:prstGeom>
          </p:spPr>
          <p:txBody>
            <a:bodyPr vert="horz" lIns="0" tIns="0" rIns="0" bIns="0" rtlCol="0" anchor="b" anchorCtr="0">
              <a:normAutofit/>
            </a:bodyPr>
            <a:lstStyle>
              <a:lvl1pPr algn="l" defTabSz="457200" rtl="0" eaLnBrk="1" latinLnBrk="0" hangingPunct="1">
                <a:lnSpc>
                  <a:spcPct val="144444"/>
                </a:lnSpc>
                <a:spcBef>
                  <a:spcPct val="0"/>
                </a:spcBef>
                <a:buNone/>
                <a:defRPr sz="1800" b="1" i="0" kern="1200">
                  <a:solidFill>
                    <a:srgbClr val="FFFFFF"/>
                  </a:solidFill>
                  <a:latin typeface="+mj-lt"/>
                  <a:ea typeface="+mj-ea"/>
                  <a:cs typeface="Verdana"/>
                </a:defRPr>
              </a:lvl1pPr>
            </a:lstStyle>
            <a:p>
              <a:pPr lvl="0" defTabSz="630936">
                <a:lnSpc>
                  <a:spcPct val="118181"/>
                </a:lnSpc>
                <a:defRPr sz="1518"/>
              </a:pPr>
              <a:endParaRPr kumimoji="0" lang="en-GB" sz="1200" b="1" i="0" u="none" strike="noStrike" kern="1200" cap="none" spc="0" normalizeH="0" baseline="0" noProof="0">
                <a:ln>
                  <a:noFill/>
                </a:ln>
                <a:solidFill>
                  <a:schemeClr val="bg1"/>
                </a:solidFill>
                <a:effectLst/>
                <a:uLnTx/>
                <a:uFillTx/>
                <a:latin typeface="Verdana"/>
              </a:endParaRPr>
            </a:p>
          </p:txBody>
        </p:sp>
        <p:sp>
          <p:nvSpPr>
            <p:cNvPr id="12" name="Rectangle 11">
              <a:extLst>
                <a:ext uri="{FF2B5EF4-FFF2-40B4-BE49-F238E27FC236}">
                  <a16:creationId xmlns:a16="http://schemas.microsoft.com/office/drawing/2014/main" id="{AB841629-5D1F-1047-9314-FFE2F9842A54}"/>
                </a:ext>
              </a:extLst>
            </p:cNvPr>
            <p:cNvSpPr/>
            <p:nvPr/>
          </p:nvSpPr>
          <p:spPr>
            <a:xfrm>
              <a:off x="1373318" y="2093983"/>
              <a:ext cx="129059" cy="444438"/>
            </a:xfrm>
            <a:prstGeom prst="rect">
              <a:avLst/>
            </a:prstGeom>
          </p:spPr>
          <p:txBody>
            <a:bodyPr wrap="none">
              <a:spAutoFit/>
            </a:bodyPr>
            <a:lstStyle/>
            <a:p>
              <a:endParaRPr lang="en-GB" sz="1200">
                <a:solidFill>
                  <a:schemeClr val="bg1"/>
                </a:solidFill>
              </a:endParaRPr>
            </a:p>
          </p:txBody>
        </p:sp>
      </p:grpSp>
      <p:sp>
        <p:nvSpPr>
          <p:cNvPr id="15" name="Shape 45">
            <a:extLst>
              <a:ext uri="{FF2B5EF4-FFF2-40B4-BE49-F238E27FC236}">
                <a16:creationId xmlns:a16="http://schemas.microsoft.com/office/drawing/2014/main" id="{22A5AB88-84E0-CE4C-9899-9AB4655E2228}"/>
              </a:ext>
            </a:extLst>
          </p:cNvPr>
          <p:cNvSpPr txBox="1">
            <a:spLocks/>
          </p:cNvSpPr>
          <p:nvPr/>
        </p:nvSpPr>
        <p:spPr>
          <a:xfrm>
            <a:off x="3521933" y="215217"/>
            <a:ext cx="2128370" cy="339258"/>
          </a:xfrm>
          <a:prstGeom prst="rect">
            <a:avLst/>
          </a:prstGeom>
        </p:spPr>
        <p:txBody>
          <a:bodyPr vert="horz" lIns="0" tIns="0" rIns="0" bIns="0" rtlCol="0" anchor="b" anchorCtr="0">
            <a:noAutofit/>
          </a:bodyPr>
          <a:lstStyle>
            <a:lvl1pPr algn="l" defTabSz="457200" rtl="0" eaLnBrk="1" latinLnBrk="0" hangingPunct="1">
              <a:lnSpc>
                <a:spcPct val="144444"/>
              </a:lnSpc>
              <a:spcBef>
                <a:spcPct val="0"/>
              </a:spcBef>
              <a:buNone/>
              <a:defRPr sz="1800" b="1" i="0" kern="1200">
                <a:solidFill>
                  <a:srgbClr val="FFFFFF"/>
                </a:solidFill>
                <a:latin typeface="+mj-lt"/>
                <a:ea typeface="+mj-ea"/>
                <a:cs typeface="Verdana"/>
              </a:defRPr>
            </a:lvl1pPr>
          </a:lstStyle>
          <a:p>
            <a:pPr lvl="0" defTabSz="630936">
              <a:lnSpc>
                <a:spcPct val="118181"/>
              </a:lnSpc>
              <a:defRPr sz="1518"/>
            </a:pPr>
            <a:r>
              <a:rPr kumimoji="0" lang="en-GB" sz="2400" b="1" i="0" u="none" strike="noStrike" kern="1200" cap="none" spc="0" normalizeH="0" baseline="0" noProof="0">
                <a:ln>
                  <a:noFill/>
                </a:ln>
                <a:solidFill>
                  <a:srgbClr val="FFFFFF"/>
                </a:solidFill>
                <a:effectLst/>
                <a:uLnTx/>
                <a:uFillTx/>
                <a:latin typeface="Verdana"/>
                <a:ea typeface="+mj-ea"/>
                <a:cs typeface="Verdana"/>
              </a:rPr>
              <a:t>THANK YOU</a:t>
            </a:r>
            <a:endParaRPr kumimoji="0" lang="en-GB" sz="2400" b="1" i="0" u="none" strike="noStrike" kern="1200" cap="none" spc="0" normalizeH="0" baseline="0" noProof="0">
              <a:ln>
                <a:noFill/>
              </a:ln>
              <a:solidFill>
                <a:schemeClr val="bg1"/>
              </a:solidFill>
              <a:effectLst/>
              <a:uLnTx/>
              <a:uFillTx/>
              <a:latin typeface="Verdana"/>
            </a:endParaRPr>
          </a:p>
        </p:txBody>
      </p:sp>
      <p:grpSp>
        <p:nvGrpSpPr>
          <p:cNvPr id="20" name="Group 19">
            <a:extLst>
              <a:ext uri="{FF2B5EF4-FFF2-40B4-BE49-F238E27FC236}">
                <a16:creationId xmlns:a16="http://schemas.microsoft.com/office/drawing/2014/main" id="{5FA0A4EB-CAA7-4108-AADB-7E57C98043BC}"/>
              </a:ext>
            </a:extLst>
          </p:cNvPr>
          <p:cNvGrpSpPr/>
          <p:nvPr/>
        </p:nvGrpSpPr>
        <p:grpSpPr>
          <a:xfrm>
            <a:off x="3363355" y="2935516"/>
            <a:ext cx="4573896" cy="1637416"/>
            <a:chOff x="2397059" y="3106593"/>
            <a:chExt cx="2485128" cy="915392"/>
          </a:xfrm>
        </p:grpSpPr>
        <p:sp>
          <p:nvSpPr>
            <p:cNvPr id="21" name="TextBox 1">
              <a:extLst>
                <a:ext uri="{FF2B5EF4-FFF2-40B4-BE49-F238E27FC236}">
                  <a16:creationId xmlns:a16="http://schemas.microsoft.com/office/drawing/2014/main" id="{6BACF456-4E43-4B3F-9E69-F171B3659121}"/>
                </a:ext>
              </a:extLst>
            </p:cNvPr>
            <p:cNvSpPr txBox="1"/>
            <p:nvPr/>
          </p:nvSpPr>
          <p:spPr>
            <a:xfrm>
              <a:off x="2754852" y="3106594"/>
              <a:ext cx="2127335"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a:t>
              </a:r>
            </a:p>
          </p:txBody>
        </p:sp>
        <p:pic>
          <p:nvPicPr>
            <p:cNvPr id="22" name="Graphic 3">
              <a:extLst>
                <a:ext uri="{FF2B5EF4-FFF2-40B4-BE49-F238E27FC236}">
                  <a16:creationId xmlns:a16="http://schemas.microsoft.com/office/drawing/2014/main" id="{9ADE7332-A919-4A53-A585-7190EC6D4D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97059" y="3106593"/>
              <a:ext cx="307778" cy="307778"/>
            </a:xfrm>
            <a:prstGeom prst="rect">
              <a:avLst/>
            </a:prstGeom>
          </p:spPr>
        </p:pic>
        <p:sp>
          <p:nvSpPr>
            <p:cNvPr id="23" name="TextBox 5">
              <a:extLst>
                <a:ext uri="{FF2B5EF4-FFF2-40B4-BE49-F238E27FC236}">
                  <a16:creationId xmlns:a16="http://schemas.microsoft.com/office/drawing/2014/main" id="{5BE16098-11B1-4603-B656-6BE9F4864C2E}"/>
                </a:ext>
              </a:extLst>
            </p:cNvPr>
            <p:cNvSpPr txBox="1"/>
            <p:nvPr/>
          </p:nvSpPr>
          <p:spPr>
            <a:xfrm>
              <a:off x="2754852" y="3414372"/>
              <a:ext cx="1708801"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SussexAzure</a:t>
              </a:r>
              <a:endParaRPr lang="en-GB" sz="1800">
                <a:solidFill>
                  <a:schemeClr val="bg1"/>
                </a:solidFill>
                <a:latin typeface="Verdana" panose="020B0604030504040204" pitchFamily="34" charset="0"/>
                <a:ea typeface="Verdana" panose="020B0604030504040204" pitchFamily="34" charset="0"/>
              </a:endParaRPr>
            </a:p>
          </p:txBody>
        </p:sp>
        <p:pic>
          <p:nvPicPr>
            <p:cNvPr id="24" name="Graphic 7">
              <a:extLst>
                <a:ext uri="{FF2B5EF4-FFF2-40B4-BE49-F238E27FC236}">
                  <a16:creationId xmlns:a16="http://schemas.microsoft.com/office/drawing/2014/main" id="{D1DC9B58-3E5B-4C7D-BBF6-5BFF7F6FFA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97063" y="3414372"/>
              <a:ext cx="307777" cy="307777"/>
            </a:xfrm>
            <a:prstGeom prst="rect">
              <a:avLst/>
            </a:prstGeom>
          </p:spPr>
        </p:pic>
        <p:sp>
          <p:nvSpPr>
            <p:cNvPr id="25" name="TextBox 8">
              <a:extLst>
                <a:ext uri="{FF2B5EF4-FFF2-40B4-BE49-F238E27FC236}">
                  <a16:creationId xmlns:a16="http://schemas.microsoft.com/office/drawing/2014/main" id="{5D640917-CA7A-47F6-B91A-31470B8FDEB6}"/>
                </a:ext>
              </a:extLst>
            </p:cNvPr>
            <p:cNvSpPr txBox="1"/>
            <p:nvPr/>
          </p:nvSpPr>
          <p:spPr>
            <a:xfrm>
              <a:off x="2754852" y="3742999"/>
              <a:ext cx="1477969"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err="1">
                  <a:solidFill>
                    <a:schemeClr val="bg1"/>
                  </a:solidFill>
                  <a:latin typeface="Verdana" panose="020B0604030504040204" pitchFamily="34" charset="0"/>
                  <a:ea typeface="Verdana" panose="020B0604030504040204" pitchFamily="34" charset="0"/>
                </a:rPr>
                <a:t>SussexAzure</a:t>
              </a:r>
              <a:endParaRPr lang="en-GB" sz="2000">
                <a:solidFill>
                  <a:schemeClr val="bg1"/>
                </a:solidFill>
                <a:latin typeface="Verdana" panose="020B0604030504040204" pitchFamily="34" charset="0"/>
                <a:ea typeface="Verdana" panose="020B0604030504040204" pitchFamily="34" charset="0"/>
              </a:endParaRPr>
            </a:p>
          </p:txBody>
        </p:sp>
        <p:pic>
          <p:nvPicPr>
            <p:cNvPr id="26" name="Graphic 10">
              <a:extLst>
                <a:ext uri="{FF2B5EF4-FFF2-40B4-BE49-F238E27FC236}">
                  <a16:creationId xmlns:a16="http://schemas.microsoft.com/office/drawing/2014/main" id="{0B797044-578F-4D64-A8CA-BE0AF2F2F9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00037" y="3717185"/>
              <a:ext cx="304800" cy="304800"/>
            </a:xfrm>
            <a:prstGeom prst="rect">
              <a:avLst/>
            </a:prstGeom>
          </p:spPr>
        </p:pic>
      </p:grpSp>
      <p:grpSp>
        <p:nvGrpSpPr>
          <p:cNvPr id="3" name="Group 2">
            <a:extLst>
              <a:ext uri="{FF2B5EF4-FFF2-40B4-BE49-F238E27FC236}">
                <a16:creationId xmlns:a16="http://schemas.microsoft.com/office/drawing/2014/main" id="{8E0DCF0F-8C3E-4DB7-8092-6330D23D238F}"/>
              </a:ext>
            </a:extLst>
          </p:cNvPr>
          <p:cNvGrpSpPr/>
          <p:nvPr/>
        </p:nvGrpSpPr>
        <p:grpSpPr>
          <a:xfrm>
            <a:off x="6012160" y="2540935"/>
            <a:ext cx="4573892" cy="2430034"/>
            <a:chOff x="231747" y="2673641"/>
            <a:chExt cx="4573892" cy="2430034"/>
          </a:xfrm>
        </p:grpSpPr>
        <p:grpSp>
          <p:nvGrpSpPr>
            <p:cNvPr id="10" name="Group 9">
              <a:extLst>
                <a:ext uri="{FF2B5EF4-FFF2-40B4-BE49-F238E27FC236}">
                  <a16:creationId xmlns:a16="http://schemas.microsoft.com/office/drawing/2014/main" id="{1872A94A-4C8D-4997-988F-CF03E8265A68}"/>
                </a:ext>
              </a:extLst>
            </p:cNvPr>
            <p:cNvGrpSpPr/>
            <p:nvPr/>
          </p:nvGrpSpPr>
          <p:grpSpPr>
            <a:xfrm>
              <a:off x="231747" y="2673641"/>
              <a:ext cx="4573892" cy="1803540"/>
              <a:chOff x="-1412092" y="4212367"/>
              <a:chExt cx="2485126" cy="1008263"/>
            </a:xfrm>
          </p:grpSpPr>
          <p:sp>
            <p:nvSpPr>
              <p:cNvPr id="13" name="TextBox 1">
                <a:extLst>
                  <a:ext uri="{FF2B5EF4-FFF2-40B4-BE49-F238E27FC236}">
                    <a16:creationId xmlns:a16="http://schemas.microsoft.com/office/drawing/2014/main" id="{2593C79D-109F-4C4E-8A6E-86D6384C04E6}"/>
                  </a:ext>
                </a:extLst>
              </p:cNvPr>
              <p:cNvSpPr txBox="1"/>
              <p:nvPr/>
            </p:nvSpPr>
            <p:spPr>
              <a:xfrm>
                <a:off x="-1054301" y="4212367"/>
                <a:ext cx="2127335" cy="276999"/>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jacktracey.co.uk</a:t>
                </a:r>
              </a:p>
            </p:txBody>
          </p:sp>
          <p:pic>
            <p:nvPicPr>
              <p:cNvPr id="14" name="Graphic 3">
                <a:extLst>
                  <a:ext uri="{FF2B5EF4-FFF2-40B4-BE49-F238E27FC236}">
                    <a16:creationId xmlns:a16="http://schemas.microsoft.com/office/drawing/2014/main" id="{8D2B7678-82D9-433B-AEE2-4FC5AE8128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2092" y="4212368"/>
                <a:ext cx="307778" cy="307778"/>
              </a:xfrm>
              <a:prstGeom prst="rect">
                <a:avLst/>
              </a:prstGeom>
            </p:spPr>
          </p:pic>
          <p:sp>
            <p:nvSpPr>
              <p:cNvPr id="16" name="TextBox 5">
                <a:extLst>
                  <a:ext uri="{FF2B5EF4-FFF2-40B4-BE49-F238E27FC236}">
                    <a16:creationId xmlns:a16="http://schemas.microsoft.com/office/drawing/2014/main" id="{F9F85FC8-E30E-4480-B06A-6048B44B8719}"/>
                  </a:ext>
                </a:extLst>
              </p:cNvPr>
              <p:cNvSpPr txBox="1"/>
              <p:nvPr/>
            </p:nvSpPr>
            <p:spPr>
              <a:xfrm>
                <a:off x="-1054301" y="4562613"/>
                <a:ext cx="1170192"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jack_ref</a:t>
                </a:r>
                <a:endParaRPr lang="en-GB" sz="1800">
                  <a:solidFill>
                    <a:schemeClr val="bg1"/>
                  </a:solidFill>
                  <a:latin typeface="Verdana" panose="020B0604030504040204" pitchFamily="34" charset="0"/>
                  <a:ea typeface="Verdana" panose="020B0604030504040204" pitchFamily="34" charset="0"/>
                </a:endParaRPr>
              </a:p>
            </p:txBody>
          </p:sp>
          <p:pic>
            <p:nvPicPr>
              <p:cNvPr id="17" name="Graphic 7">
                <a:extLst>
                  <a:ext uri="{FF2B5EF4-FFF2-40B4-BE49-F238E27FC236}">
                    <a16:creationId xmlns:a16="http://schemas.microsoft.com/office/drawing/2014/main" id="{CF1F1581-E3AB-4E92-ADA1-14B1382A43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2081" y="4562613"/>
                <a:ext cx="307777" cy="307777"/>
              </a:xfrm>
              <a:prstGeom prst="rect">
                <a:avLst/>
              </a:prstGeom>
            </p:spPr>
          </p:pic>
          <p:sp>
            <p:nvSpPr>
              <p:cNvPr id="18" name="TextBox 8">
                <a:extLst>
                  <a:ext uri="{FF2B5EF4-FFF2-40B4-BE49-F238E27FC236}">
                    <a16:creationId xmlns:a16="http://schemas.microsoft.com/office/drawing/2014/main" id="{58060306-9E65-4571-A72E-EB1CE75776CD}"/>
                  </a:ext>
                </a:extLst>
              </p:cNvPr>
              <p:cNvSpPr txBox="1"/>
              <p:nvPr/>
            </p:nvSpPr>
            <p:spPr>
              <a:xfrm>
                <a:off x="-1054301" y="4912854"/>
                <a:ext cx="1092415"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jtracey93</a:t>
                </a:r>
                <a:endParaRPr lang="en-GB" sz="2000">
                  <a:solidFill>
                    <a:schemeClr val="bg1"/>
                  </a:solidFill>
                  <a:latin typeface="Verdana" panose="020B0604030504040204" pitchFamily="34" charset="0"/>
                  <a:ea typeface="Verdana" panose="020B0604030504040204" pitchFamily="34" charset="0"/>
                </a:endParaRPr>
              </a:p>
            </p:txBody>
          </p:sp>
          <p:pic>
            <p:nvPicPr>
              <p:cNvPr id="19" name="Graphic 10">
                <a:extLst>
                  <a:ext uri="{FF2B5EF4-FFF2-40B4-BE49-F238E27FC236}">
                    <a16:creationId xmlns:a16="http://schemas.microsoft.com/office/drawing/2014/main" id="{5CE2E72F-B8D5-43DD-A4BD-106B5373FE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09115" y="4915830"/>
                <a:ext cx="304800" cy="304800"/>
              </a:xfrm>
              <a:prstGeom prst="rect">
                <a:avLst/>
              </a:prstGeom>
            </p:spPr>
          </p:pic>
        </p:grpSp>
        <p:sp>
          <p:nvSpPr>
            <p:cNvPr id="28" name="TextBox 5">
              <a:extLst>
                <a:ext uri="{FF2B5EF4-FFF2-40B4-BE49-F238E27FC236}">
                  <a16:creationId xmlns:a16="http://schemas.microsoft.com/office/drawing/2014/main" id="{292067ED-B08A-4521-99A4-875226D05920}"/>
                </a:ext>
              </a:extLst>
            </p:cNvPr>
            <p:cNvSpPr txBox="1"/>
            <p:nvPr/>
          </p:nvSpPr>
          <p:spPr>
            <a:xfrm>
              <a:off x="872877" y="4554069"/>
              <a:ext cx="2366032"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jack</a:t>
              </a:r>
            </a:p>
          </p:txBody>
        </p:sp>
        <p:pic>
          <p:nvPicPr>
            <p:cNvPr id="6" name="Picture 5">
              <a:extLst>
                <a:ext uri="{FF2B5EF4-FFF2-40B4-BE49-F238E27FC236}">
                  <a16:creationId xmlns:a16="http://schemas.microsoft.com/office/drawing/2014/main" id="{3FCE3B26-3DC6-4836-A0FA-E5B5AD5F4D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1747" y="4558462"/>
              <a:ext cx="641130" cy="545213"/>
            </a:xfrm>
            <a:prstGeom prst="rect">
              <a:avLst/>
            </a:prstGeom>
          </p:spPr>
        </p:pic>
      </p:grpSp>
      <p:grpSp>
        <p:nvGrpSpPr>
          <p:cNvPr id="2" name="Group 1">
            <a:extLst>
              <a:ext uri="{FF2B5EF4-FFF2-40B4-BE49-F238E27FC236}">
                <a16:creationId xmlns:a16="http://schemas.microsoft.com/office/drawing/2014/main" id="{809344A3-9BC0-444F-ABAF-679AA2C2D45C}"/>
              </a:ext>
            </a:extLst>
          </p:cNvPr>
          <p:cNvGrpSpPr/>
          <p:nvPr/>
        </p:nvGrpSpPr>
        <p:grpSpPr>
          <a:xfrm>
            <a:off x="144045" y="3370870"/>
            <a:ext cx="3045956" cy="1221347"/>
            <a:chOff x="5749648" y="2646547"/>
            <a:chExt cx="3045956" cy="1221347"/>
          </a:xfrm>
        </p:grpSpPr>
        <p:sp>
          <p:nvSpPr>
            <p:cNvPr id="27" name="TextBox 5">
              <a:extLst>
                <a:ext uri="{FF2B5EF4-FFF2-40B4-BE49-F238E27FC236}">
                  <a16:creationId xmlns:a16="http://schemas.microsoft.com/office/drawing/2014/main" id="{387BF5CA-3D16-41FF-B240-5C9553E95FE0}"/>
                </a:ext>
              </a:extLst>
            </p:cNvPr>
            <p:cNvSpPr txBox="1"/>
            <p:nvPr/>
          </p:nvSpPr>
          <p:spPr>
            <a:xfrm>
              <a:off x="6390778" y="2673641"/>
              <a:ext cx="2404826"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sussexazure.uk/</a:t>
              </a:r>
              <a:r>
                <a:rPr lang="en-GB" sz="1800" err="1">
                  <a:solidFill>
                    <a:schemeClr val="bg1"/>
                  </a:solidFill>
                  <a:latin typeface="Verdana" panose="020B0604030504040204" pitchFamily="34" charset="0"/>
                  <a:ea typeface="Verdana" panose="020B0604030504040204" pitchFamily="34" charset="0"/>
                </a:rPr>
                <a:t>ryan</a:t>
              </a:r>
              <a:endParaRPr lang="en-GB" sz="1800">
                <a:solidFill>
                  <a:schemeClr val="bg1"/>
                </a:solidFill>
                <a:latin typeface="Verdana" panose="020B0604030504040204" pitchFamily="34" charset="0"/>
                <a:ea typeface="Verdana" panose="020B0604030504040204" pitchFamily="34" charset="0"/>
              </a:endParaRPr>
            </a:p>
          </p:txBody>
        </p:sp>
        <p:sp>
          <p:nvSpPr>
            <p:cNvPr id="29" name="TextBox 5">
              <a:extLst>
                <a:ext uri="{FF2B5EF4-FFF2-40B4-BE49-F238E27FC236}">
                  <a16:creationId xmlns:a16="http://schemas.microsoft.com/office/drawing/2014/main" id="{41C5121F-B9BA-46B1-B888-E0C821190BB2}"/>
                </a:ext>
              </a:extLst>
            </p:cNvPr>
            <p:cNvSpPr txBox="1"/>
            <p:nvPr/>
          </p:nvSpPr>
          <p:spPr>
            <a:xfrm>
              <a:off x="6390778" y="3300147"/>
              <a:ext cx="2004075" cy="276999"/>
            </a:xfrm>
            <a:prstGeom prst="rect">
              <a:avLst/>
            </a:prstGeom>
            <a:noFill/>
          </p:spPr>
          <p:txBody>
            <a:bodyPr wrap="non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l"/>
              <a:r>
                <a:rPr lang="en-GB" sz="1800">
                  <a:solidFill>
                    <a:schemeClr val="bg1"/>
                  </a:solidFill>
                  <a:latin typeface="Verdana" panose="020B0604030504040204" pitchFamily="34" charset="0"/>
                  <a:ea typeface="Verdana" panose="020B0604030504040204" pitchFamily="34" charset="0"/>
                </a:rPr>
                <a:t>@</a:t>
              </a:r>
              <a:r>
                <a:rPr lang="en-GB" sz="1800" err="1">
                  <a:solidFill>
                    <a:schemeClr val="bg1"/>
                  </a:solidFill>
                  <a:latin typeface="Verdana" panose="020B0604030504040204" pitchFamily="34" charset="0"/>
                  <a:ea typeface="Verdana" panose="020B0604030504040204" pitchFamily="34" charset="0"/>
                </a:rPr>
                <a:t>ryan_littlemore</a:t>
              </a:r>
              <a:endParaRPr lang="en-GB" sz="1800">
                <a:solidFill>
                  <a:schemeClr val="bg1"/>
                </a:solidFill>
                <a:latin typeface="Verdana" panose="020B0604030504040204" pitchFamily="34" charset="0"/>
                <a:ea typeface="Verdana" panose="020B0604030504040204" pitchFamily="34" charset="0"/>
              </a:endParaRPr>
            </a:p>
          </p:txBody>
        </p:sp>
        <p:pic>
          <p:nvPicPr>
            <p:cNvPr id="30" name="Graphic 7">
              <a:extLst>
                <a:ext uri="{FF2B5EF4-FFF2-40B4-BE49-F238E27FC236}">
                  <a16:creationId xmlns:a16="http://schemas.microsoft.com/office/drawing/2014/main" id="{C802871A-E452-4312-9B1D-B7ABFCCE7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9648" y="3252381"/>
              <a:ext cx="566466" cy="615513"/>
            </a:xfrm>
            <a:prstGeom prst="rect">
              <a:avLst/>
            </a:prstGeom>
          </p:spPr>
        </p:pic>
        <p:pic>
          <p:nvPicPr>
            <p:cNvPr id="32" name="Picture 31">
              <a:extLst>
                <a:ext uri="{FF2B5EF4-FFF2-40B4-BE49-F238E27FC236}">
                  <a16:creationId xmlns:a16="http://schemas.microsoft.com/office/drawing/2014/main" id="{5FF744D3-5038-4D5E-8116-F20056A4EE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49648" y="2646547"/>
              <a:ext cx="641130" cy="545213"/>
            </a:xfrm>
            <a:prstGeom prst="rect">
              <a:avLst/>
            </a:prstGeom>
          </p:spPr>
        </p:pic>
      </p:grpSp>
      <p:sp>
        <p:nvSpPr>
          <p:cNvPr id="31" name="TextBox 30">
            <a:extLst>
              <a:ext uri="{FF2B5EF4-FFF2-40B4-BE49-F238E27FC236}">
                <a16:creationId xmlns:a16="http://schemas.microsoft.com/office/drawing/2014/main" id="{89E4F5E5-661B-4968-86C4-527F2600534E}"/>
              </a:ext>
            </a:extLst>
          </p:cNvPr>
          <p:cNvSpPr txBox="1"/>
          <p:nvPr/>
        </p:nvSpPr>
        <p:spPr>
          <a:xfrm>
            <a:off x="3375426" y="756253"/>
            <a:ext cx="5448998" cy="13388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lnSpc>
                <a:spcPct val="150000"/>
              </a:lnSpc>
              <a:defRPr sz="1800" b="1">
                <a:solidFill>
                  <a:srgbClr val="2E93B8"/>
                </a:solidFill>
                <a:latin typeface="Roboto Mono Medium for Powerlin" pitchFamily="2" charset="0"/>
                <a:ea typeface="Roboto Mono Medium for Powerlin" pitchFamily="2" charset="0"/>
              </a:defRPr>
            </a:lvl1pPr>
          </a:lstStyle>
          <a:p>
            <a:r>
              <a:rPr lang="en-GB"/>
              <a:t>Please give us your feedback, </a:t>
            </a:r>
            <a:br>
              <a:rPr lang="en-GB"/>
            </a:br>
            <a:r>
              <a:rPr lang="en-GB"/>
              <a:t>we really do read this!</a:t>
            </a:r>
          </a:p>
          <a:p>
            <a:r>
              <a:rPr lang="en-GB">
                <a:hlinkClick r:id="rId10">
                  <a:extLst>
                    <a:ext uri="{A12FA001-AC4F-418D-AE19-62706E023703}">
                      <ahyp:hlinkClr xmlns:ahyp="http://schemas.microsoft.com/office/drawing/2018/hyperlinkcolor" val="tx"/>
                    </a:ext>
                  </a:extLst>
                </a:hlinkClick>
              </a:rPr>
              <a:t>https://sussexazure.uk/april20review</a:t>
            </a:r>
            <a:r>
              <a:rPr lang="en-GB"/>
              <a:t>  </a:t>
            </a:r>
          </a:p>
        </p:txBody>
      </p:sp>
      <p:pic>
        <p:nvPicPr>
          <p:cNvPr id="33" name="Picture 32">
            <a:extLst>
              <a:ext uri="{FF2B5EF4-FFF2-40B4-BE49-F238E27FC236}">
                <a16:creationId xmlns:a16="http://schemas.microsoft.com/office/drawing/2014/main" id="{660C38E6-F9F9-478B-A6DF-3122A8989F2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9C5DB219-88C6-4F98-96AE-DD5C84B2965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69207" y="3170584"/>
            <a:ext cx="1216454" cy="625736"/>
          </a:xfrm>
          <a:prstGeom prst="rect">
            <a:avLst/>
          </a:prstGeom>
        </p:spPr>
      </p:pic>
      <p:pic>
        <p:nvPicPr>
          <p:cNvPr id="7" name="Picture 6" descr="A close up of a logo&#10;&#10;Description automatically generated">
            <a:extLst>
              <a:ext uri="{FF2B5EF4-FFF2-40B4-BE49-F238E27FC236}">
                <a16:creationId xmlns:a16="http://schemas.microsoft.com/office/drawing/2014/main" id="{05856AF5-C091-4AA2-B36F-0308DB814DE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7" y="0"/>
            <a:ext cx="3284134" cy="3284134"/>
          </a:xfrm>
          <a:prstGeom prst="rect">
            <a:avLst/>
          </a:prstGeom>
        </p:spPr>
      </p:pic>
    </p:spTree>
    <p:extLst>
      <p:ext uri="{BB962C8B-B14F-4D97-AF65-F5344CB8AC3E}">
        <p14:creationId xmlns:p14="http://schemas.microsoft.com/office/powerpoint/2010/main" val="23239855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468785" y="1928674"/>
            <a:ext cx="8206430"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R="0" algn="ctr" defTabSz="914400" rtl="0" fontAlgn="auto" latinLnBrk="0" hangingPunct="0">
              <a:lnSpc>
                <a:spcPct val="150000"/>
              </a:lnSpc>
              <a:spcBef>
                <a:spcPts val="0"/>
              </a:spcBef>
              <a:spcAft>
                <a:spcPts val="0"/>
              </a:spcAft>
              <a:buClrTx/>
              <a:buSzTx/>
              <a:tabLst/>
            </a:pPr>
            <a:r>
              <a:rPr lang="en-GB" sz="1800" b="1">
                <a:solidFill>
                  <a:srgbClr val="2E93B8"/>
                </a:solidFill>
                <a:latin typeface="Roboto Mono Medium for Powerlin" pitchFamily="2" charset="0"/>
                <a:ea typeface="Roboto Mono Medium for Powerlin" pitchFamily="2" charset="0"/>
              </a:rPr>
              <a:t>Our views are of our own and not of our employers!</a:t>
            </a:r>
          </a:p>
          <a:p>
            <a:pPr marR="0" algn="ctr" defTabSz="914400" rtl="0" fontAlgn="auto" latinLnBrk="0" hangingPunct="0">
              <a:lnSpc>
                <a:spcPct val="150000"/>
              </a:lnSpc>
              <a:spcBef>
                <a:spcPts val="0"/>
              </a:spcBef>
              <a:spcAft>
                <a:spcPts val="0"/>
              </a:spcAft>
              <a:buClrTx/>
              <a:buSzTx/>
              <a:tabLst/>
            </a:pPr>
            <a:r>
              <a:rPr lang="en-GB" sz="1800" b="1">
                <a:solidFill>
                  <a:srgbClr val="2E93B8"/>
                </a:solidFill>
                <a:latin typeface="Roboto Mono Medium for Powerlin" pitchFamily="2" charset="0"/>
                <a:ea typeface="Roboto Mono Medium for Powerlin" pitchFamily="2" charset="0"/>
              </a:rPr>
              <a:t>This event is not affiliated with Microsoft!</a:t>
            </a: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199808"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DISCLAIMER</a:t>
            </a:r>
            <a:endParaRPr/>
          </a:p>
        </p:txBody>
      </p:sp>
    </p:spTree>
    <p:extLst>
      <p:ext uri="{BB962C8B-B14F-4D97-AF65-F5344CB8AC3E}">
        <p14:creationId xmlns:p14="http://schemas.microsoft.com/office/powerpoint/2010/main" val="533326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77A8A2-BD64-4C21-977E-EAC2AC092B8D}"/>
              </a:ext>
            </a:extLst>
          </p:cNvPr>
          <p:cNvSpPr>
            <a:spLocks noGrp="1"/>
          </p:cNvSpPr>
          <p:nvPr>
            <p:ph idx="1"/>
          </p:nvPr>
        </p:nvSpPr>
        <p:spPr>
          <a:xfrm>
            <a:off x="398461" y="843558"/>
            <a:ext cx="8357895" cy="3615729"/>
          </a:xfrm>
        </p:spPr>
        <p:txBody>
          <a:bodyPr>
            <a:normAutofit lnSpcReduction="10000"/>
          </a:bodyPr>
          <a:lstStyle/>
          <a:p>
            <a:r>
              <a:rPr lang="en-GB" sz="1400">
                <a:solidFill>
                  <a:srgbClr val="2E93B8"/>
                </a:solidFill>
                <a:latin typeface="Roboto Mono Medium for Powerlin" pitchFamily="2" charset="0"/>
                <a:ea typeface="Roboto Mono Medium for Powerlin" pitchFamily="2" charset="0"/>
              </a:rPr>
              <a:t>We believe that all members of the technical community are equally important.</a:t>
            </a:r>
          </a:p>
          <a:p>
            <a:r>
              <a:rPr lang="en-GB" sz="1400">
                <a:solidFill>
                  <a:srgbClr val="2E93B8"/>
                </a:solidFill>
                <a:latin typeface="Roboto Mono Medium for Powerlin" pitchFamily="2" charset="0"/>
                <a:ea typeface="Roboto Mono Medium for Powerlin" pitchFamily="2" charset="0"/>
              </a:rPr>
              <a:t>We are part a tech community where we value a diverse network, and learn and share from one another:</a:t>
            </a:r>
          </a:p>
          <a:p>
            <a:pPr lvl="1"/>
            <a:r>
              <a:rPr lang="en-GB" sz="1400">
                <a:solidFill>
                  <a:srgbClr val="2E93B8"/>
                </a:solidFill>
                <a:latin typeface="Roboto Mono Medium for Powerlin" pitchFamily="2" charset="0"/>
                <a:ea typeface="Roboto Mono Medium for Powerlin" pitchFamily="2" charset="0"/>
              </a:rPr>
              <a:t>regardless of age,</a:t>
            </a:r>
          </a:p>
          <a:p>
            <a:pPr lvl="1"/>
            <a:r>
              <a:rPr lang="en-GB" sz="1400">
                <a:solidFill>
                  <a:srgbClr val="2E93B8"/>
                </a:solidFill>
                <a:latin typeface="Roboto Mono Medium for Powerlin" pitchFamily="2" charset="0"/>
                <a:ea typeface="Roboto Mono Medium for Powerlin" pitchFamily="2" charset="0"/>
              </a:rPr>
              <a:t>regardless of colour,</a:t>
            </a:r>
          </a:p>
          <a:p>
            <a:pPr lvl="1"/>
            <a:r>
              <a:rPr lang="en-GB" sz="1400">
                <a:solidFill>
                  <a:srgbClr val="2E93B8"/>
                </a:solidFill>
                <a:latin typeface="Roboto Mono Medium for Powerlin" pitchFamily="2" charset="0"/>
                <a:ea typeface="Roboto Mono Medium for Powerlin" pitchFamily="2" charset="0"/>
              </a:rPr>
              <a:t>regardless of their ethnicity,</a:t>
            </a:r>
          </a:p>
          <a:p>
            <a:pPr lvl="1"/>
            <a:r>
              <a:rPr lang="en-GB" sz="1400">
                <a:solidFill>
                  <a:srgbClr val="2E93B8"/>
                </a:solidFill>
                <a:latin typeface="Roboto Mono Medium for Powerlin" pitchFamily="2" charset="0"/>
                <a:ea typeface="Roboto Mono Medium for Powerlin" pitchFamily="2" charset="0"/>
              </a:rPr>
              <a:t>regardless of their religion or beliefs,</a:t>
            </a:r>
          </a:p>
          <a:p>
            <a:pPr lvl="1"/>
            <a:r>
              <a:rPr lang="en-GB" sz="1400">
                <a:solidFill>
                  <a:srgbClr val="2E93B8"/>
                </a:solidFill>
                <a:latin typeface="Roboto Mono Medium for Powerlin" pitchFamily="2" charset="0"/>
                <a:ea typeface="Roboto Mono Medium for Powerlin" pitchFamily="2" charset="0"/>
              </a:rPr>
              <a:t>regardless of disability,</a:t>
            </a:r>
          </a:p>
          <a:p>
            <a:pPr lvl="1"/>
            <a:r>
              <a:rPr lang="en-GB" sz="1400">
                <a:solidFill>
                  <a:srgbClr val="2E93B8"/>
                </a:solidFill>
                <a:latin typeface="Roboto Mono Medium for Powerlin" pitchFamily="2" charset="0"/>
                <a:ea typeface="Roboto Mono Medium for Powerlin" pitchFamily="2" charset="0"/>
              </a:rPr>
              <a:t>regardless of gender,</a:t>
            </a:r>
          </a:p>
          <a:p>
            <a:pPr lvl="1"/>
            <a:r>
              <a:rPr lang="en-GB" sz="1400">
                <a:solidFill>
                  <a:srgbClr val="2E93B8"/>
                </a:solidFill>
                <a:latin typeface="Roboto Mono Medium for Powerlin" pitchFamily="2" charset="0"/>
                <a:ea typeface="Roboto Mono Medium for Powerlin" pitchFamily="2" charset="0"/>
              </a:rPr>
              <a:t>regardless of sexual orientation,</a:t>
            </a:r>
          </a:p>
          <a:p>
            <a:pPr lvl="1"/>
            <a:r>
              <a:rPr lang="en-GB" sz="1400">
                <a:solidFill>
                  <a:srgbClr val="2E93B8"/>
                </a:solidFill>
                <a:latin typeface="Roboto Mono Medium for Powerlin" pitchFamily="2" charset="0"/>
                <a:ea typeface="Roboto Mono Medium for Powerlin" pitchFamily="2" charset="0"/>
              </a:rPr>
              <a:t>regardless of their race,</a:t>
            </a:r>
          </a:p>
          <a:p>
            <a:pPr lvl="1"/>
            <a:r>
              <a:rPr lang="en-GB" sz="1400">
                <a:solidFill>
                  <a:srgbClr val="2E93B8"/>
                </a:solidFill>
                <a:latin typeface="Roboto Mono Medium for Powerlin" pitchFamily="2" charset="0"/>
                <a:ea typeface="Roboto Mono Medium for Powerlin" pitchFamily="2" charset="0"/>
              </a:rPr>
              <a:t>regardless of their ability or lack of ability,</a:t>
            </a:r>
          </a:p>
          <a:p>
            <a:pPr lvl="1"/>
            <a:r>
              <a:rPr lang="en-GB" sz="1400">
                <a:solidFill>
                  <a:srgbClr val="2E93B8"/>
                </a:solidFill>
                <a:latin typeface="Roboto Mono Medium for Powerlin" pitchFamily="2" charset="0"/>
                <a:ea typeface="Roboto Mono Medium for Powerlin" pitchFamily="2" charset="0"/>
              </a:rPr>
              <a:t>regardless of nationality or accent.</a:t>
            </a:r>
          </a:p>
          <a:p>
            <a:r>
              <a:rPr lang="en-GB" sz="1400">
                <a:solidFill>
                  <a:srgbClr val="2E93B8"/>
                </a:solidFill>
                <a:latin typeface="Roboto Mono Medium for Powerlin" pitchFamily="2" charset="0"/>
                <a:ea typeface="Roboto Mono Medium for Powerlin" pitchFamily="2" charset="0"/>
              </a:rPr>
              <a:t>We are a diverse tech community where we are all individuals with differences, but we are all members and we can all learn from each other.</a:t>
            </a:r>
          </a:p>
          <a:p>
            <a:endParaRPr lang="en-GB" sz="1400"/>
          </a:p>
        </p:txBody>
      </p:sp>
      <p:sp>
        <p:nvSpPr>
          <p:cNvPr id="4" name="Shape 138">
            <a:extLst>
              <a:ext uri="{FF2B5EF4-FFF2-40B4-BE49-F238E27FC236}">
                <a16:creationId xmlns:a16="http://schemas.microsoft.com/office/drawing/2014/main" id="{EAE83CC7-5950-474D-9ACB-D713EE73744F}"/>
              </a:ext>
            </a:extLst>
          </p:cNvPr>
          <p:cNvSpPr/>
          <p:nvPr/>
        </p:nvSpPr>
        <p:spPr>
          <a:xfrm>
            <a:off x="-4072" y="185944"/>
            <a:ext cx="3351936"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5" name="Shape 139">
            <a:extLst>
              <a:ext uri="{FF2B5EF4-FFF2-40B4-BE49-F238E27FC236}">
                <a16:creationId xmlns:a16="http://schemas.microsoft.com/office/drawing/2014/main" id="{035C9791-F7C8-44E3-8F88-9AA835001B34}"/>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DIVERSITY CHARTER</a:t>
            </a:r>
            <a:endParaRPr/>
          </a:p>
        </p:txBody>
      </p:sp>
      <p:pic>
        <p:nvPicPr>
          <p:cNvPr id="6" name="Picture 5">
            <a:extLst>
              <a:ext uri="{FF2B5EF4-FFF2-40B4-BE49-F238E27FC236}">
                <a16:creationId xmlns:a16="http://schemas.microsoft.com/office/drawing/2014/main" id="{79DDFB84-2623-43F8-8C2E-14E9E0E10BF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182606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750"/>
                            </p:stCondLst>
                            <p:childTnLst>
                              <p:par>
                                <p:cTn id="13" presetID="10" presetClass="entr" presetSubtype="0" fill="hold" nodeType="afterEffect">
                                  <p:stCondLst>
                                    <p:cond delay="5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275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4250"/>
                            </p:stCondLst>
                            <p:childTnLst>
                              <p:par>
                                <p:cTn id="29" presetID="10" presetClass="entr" presetSubtype="0" fill="hold"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par>
                          <p:cTn id="32" fill="hold">
                            <p:stCondLst>
                              <p:cond delay="4750"/>
                            </p:stCondLst>
                            <p:childTnLst>
                              <p:par>
                                <p:cTn id="33" presetID="10" presetClass="entr" presetSubtype="0" fill="hold" nodeType="after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5250"/>
                            </p:stCondLst>
                            <p:childTnLst>
                              <p:par>
                                <p:cTn id="37" presetID="10" presetClass="entr" presetSubtype="0" fill="hold"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5750"/>
                            </p:stCondLst>
                            <p:childTnLst>
                              <p:par>
                                <p:cTn id="41" presetID="10" presetClass="entr" presetSubtype="0" fill="hold"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6250"/>
                            </p:stCondLst>
                            <p:childTnLst>
                              <p:par>
                                <p:cTn id="45" presetID="10" presetClass="entr" presetSubtype="0" fill="hold"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par>
                          <p:cTn id="48" fill="hold">
                            <p:stCondLst>
                              <p:cond delay="6750"/>
                            </p:stCondLst>
                            <p:childTnLst>
                              <p:par>
                                <p:cTn id="49" presetID="10" presetClass="entr" presetSubtype="0" fill="hold" nodeType="after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Effect transition="in" filter="fade">
                                      <p:cBhvr>
                                        <p:cTn id="51" dur="500"/>
                                        <p:tgtEl>
                                          <p:spTgt spid="3">
                                            <p:txEl>
                                              <p:pRg st="11" end="11"/>
                                            </p:txEl>
                                          </p:spTgt>
                                        </p:tgtEl>
                                      </p:cBhvr>
                                    </p:animEffect>
                                  </p:childTnLst>
                                </p:cTn>
                              </p:par>
                            </p:childTnLst>
                          </p:cTn>
                        </p:par>
                        <p:par>
                          <p:cTn id="52" fill="hold">
                            <p:stCondLst>
                              <p:cond delay="7250"/>
                            </p:stCondLst>
                            <p:childTnLst>
                              <p:par>
                                <p:cTn id="53" presetID="10" presetClass="entr" presetSubtype="0" fill="hold" nodeType="afterEffect">
                                  <p:stCondLst>
                                    <p:cond delay="50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fade">
                                      <p:cBhvr>
                                        <p:cTn id="55"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941592"/>
            <a:ext cx="8759388" cy="38318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kumimoji="0" lang="en-GB" sz="1800" b="1" i="0" u="none" strike="noStrike" cap="none" spc="0" normalizeH="0" baseline="0">
                <a:ln>
                  <a:noFill/>
                </a:ln>
                <a:solidFill>
                  <a:srgbClr val="2E93B8"/>
                </a:solidFill>
                <a:effectLst/>
                <a:uFillTx/>
                <a:latin typeface="Roboto Mono Medium for Powerlin" pitchFamily="2" charset="0"/>
                <a:ea typeface="Roboto Mono Medium for Powerlin" pitchFamily="2" charset="0"/>
                <a:sym typeface="Arial"/>
              </a:rPr>
              <a:t>The 11</a:t>
            </a:r>
            <a:r>
              <a:rPr lang="en-GB" sz="1800" b="1">
                <a:solidFill>
                  <a:srgbClr val="2E93B8"/>
                </a:solidFill>
                <a:latin typeface="Roboto Mono Medium for Powerlin" pitchFamily="2" charset="0"/>
                <a:ea typeface="Roboto Mono Medium for Powerlin" pitchFamily="2" charset="0"/>
              </a:rPr>
              <a:t>th</a:t>
            </a:r>
            <a:r>
              <a:rPr kumimoji="0" lang="en-GB" sz="1800" b="1" i="0" u="none" strike="noStrike" cap="none" spc="0" normalizeH="0" baseline="0">
                <a:ln>
                  <a:noFill/>
                </a:ln>
                <a:solidFill>
                  <a:srgbClr val="2E93B8"/>
                </a:solidFill>
                <a:effectLst/>
                <a:uFillTx/>
                <a:latin typeface="Roboto Mono Medium for Powerlin" pitchFamily="2" charset="0"/>
                <a:ea typeface="Roboto Mono Medium for Powerlin" pitchFamily="2" charset="0"/>
                <a:sym typeface="Arial"/>
              </a:rPr>
              <a:t> Sussex Azure User Group Meetup</a:t>
            </a:r>
            <a:endParaRPr lang="en-GB" sz="1800" b="1">
              <a:solidFill>
                <a:srgbClr val="2E93B8"/>
              </a:solidFill>
              <a:latin typeface="Roboto Mono Medium for Powerlin" pitchFamily="2" charset="0"/>
              <a:ea typeface="Roboto Mono Medium for Powerlin" pitchFamily="2" charset="0"/>
            </a:endParaRP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a:solidFill>
                  <a:srgbClr val="2E93B8"/>
                </a:solidFill>
                <a:latin typeface="Roboto Mono Medium for Powerlin" pitchFamily="2" charset="0"/>
                <a:ea typeface="Roboto Mono Medium for Powerlin" pitchFamily="2" charset="0"/>
              </a:rPr>
              <a:t>Who are we…? (for the newcomers)</a:t>
            </a:r>
          </a:p>
          <a:p>
            <a:pPr marL="342900" indent="-34290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What is this all about…? (for the newcomers)</a:t>
            </a:r>
          </a:p>
          <a:p>
            <a:pPr marL="342900" indent="-34290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How did we get here…? (for the newcomers)</a:t>
            </a: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a:solidFill>
                  <a:srgbClr val="2E93B8"/>
                </a:solidFill>
                <a:latin typeface="Roboto Mono Medium for Powerlin" pitchFamily="2" charset="0"/>
                <a:ea typeface="Roboto Mono Medium for Powerlin" pitchFamily="2" charset="0"/>
              </a:rPr>
              <a:t>Future sessions &amp; plans for the group</a:t>
            </a:r>
          </a:p>
          <a:p>
            <a:pPr marL="342900" marR="0" indent="-342900" algn="l"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800" b="1">
                <a:solidFill>
                  <a:srgbClr val="2E93B8"/>
                </a:solidFill>
                <a:latin typeface="Roboto Mono Medium for Powerlin" pitchFamily="2" charset="0"/>
                <a:ea typeface="Roboto Mono Medium for Powerlin" pitchFamily="2" charset="0"/>
              </a:rPr>
              <a:t>Tonight’s Agenda:</a:t>
            </a:r>
          </a:p>
          <a:p>
            <a:pPr lvl="7">
              <a:lnSpc>
                <a:spcPct val="150000"/>
              </a:lnSpc>
            </a:pPr>
            <a:r>
              <a:rPr lang="en-GB" sz="1800" b="1">
                <a:solidFill>
                  <a:srgbClr val="2E93B8"/>
                </a:solidFill>
                <a:latin typeface="Roboto Mono Medium for Powerlin" pitchFamily="2" charset="0"/>
                <a:ea typeface="Roboto Mono Medium for Powerlin" pitchFamily="2" charset="0"/>
              </a:rPr>
              <a:t>	-  Azure Exams &amp; Certifications Discussion</a:t>
            </a:r>
            <a:r>
              <a:rPr lang="en-GB" sz="1800" b="1" i="1">
                <a:solidFill>
                  <a:srgbClr val="2E93B8"/>
                </a:solidFill>
                <a:latin typeface="Roboto Mono Medium for Powerlin" pitchFamily="2" charset="0"/>
                <a:ea typeface="Roboto Mono Medium for Powerlin" pitchFamily="2" charset="0"/>
              </a:rPr>
              <a:t>	</a:t>
            </a:r>
          </a:p>
          <a:p>
            <a:pPr lvl="1">
              <a:lnSpc>
                <a:spcPct val="150000"/>
              </a:lnSpc>
            </a:pPr>
            <a:r>
              <a:rPr lang="en-GB" sz="1800" b="1" i="1">
                <a:solidFill>
                  <a:srgbClr val="2E93B8"/>
                </a:solidFill>
                <a:latin typeface="Roboto Mono Medium for Powerlin" pitchFamily="2" charset="0"/>
                <a:ea typeface="Roboto Mono Medium for Powerlin" pitchFamily="2" charset="0"/>
              </a:rPr>
              <a:t>		- Presented by </a:t>
            </a:r>
            <a:r>
              <a:rPr lang="en-GB" sz="1800" b="1">
                <a:solidFill>
                  <a:srgbClr val="2E93B8"/>
                </a:solidFill>
                <a:latin typeface="Roboto Mono Medium for Powerlin" pitchFamily="2" charset="0"/>
                <a:ea typeface="Roboto Mono Medium for Powerlin" pitchFamily="2" charset="0"/>
              </a:rPr>
              <a:t>Jack, Ryan &amp; Paul Grimley from Microsoft</a:t>
            </a:r>
          </a:p>
          <a:p>
            <a:pPr lvl="1">
              <a:lnSpc>
                <a:spcPct val="150000"/>
              </a:lnSpc>
            </a:pPr>
            <a:endParaRPr lang="en-GB" sz="1800" b="1" i="1">
              <a:solidFill>
                <a:srgbClr val="2E93B8"/>
              </a:solidFill>
              <a:latin typeface="Roboto Mono Medium for Powerlin" pitchFamily="2" charset="0"/>
              <a:ea typeface="Roboto Mono Medium for Powerlin" pitchFamily="2" charset="0"/>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1983784" cy="254954"/>
          </a:xfrm>
          <a:prstGeom prst="rect">
            <a:avLst/>
          </a:prstGeom>
          <a:solidFill>
            <a:schemeClr val="accent2"/>
          </a:solidFill>
          <a:ln w="12700">
            <a:miter lim="400000"/>
          </a:ln>
        </p:spPr>
        <p:txBody>
          <a:bodyPr lIns="45719" rIns="45719"/>
          <a:lstStyle/>
          <a:p>
            <a:pPr algn="ctr">
              <a:defRPr sz="1800">
                <a:latin typeface="Calibri"/>
                <a:ea typeface="Calibri"/>
                <a:cs typeface="Calibri"/>
                <a:sym typeface="Calibri"/>
              </a:defRPr>
            </a:pPr>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r>
              <a:rPr lang="en-GB"/>
              <a:t>WELCOME</a:t>
            </a:r>
            <a:endParaRPr/>
          </a:p>
        </p:txBody>
      </p:sp>
    </p:spTree>
    <p:extLst>
      <p:ext uri="{BB962C8B-B14F-4D97-AF65-F5344CB8AC3E}">
        <p14:creationId xmlns:p14="http://schemas.microsoft.com/office/powerpoint/2010/main" val="36791431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0">
                                            <p:txEl>
                                              <p:pRg st="2" end="2"/>
                                            </p:txEl>
                                          </p:spTgt>
                                        </p:tgtEl>
                                        <p:attrNameLst>
                                          <p:attrName>style.visibility</p:attrName>
                                        </p:attrNameLst>
                                      </p:cBhvr>
                                      <p:to>
                                        <p:strVal val="visible"/>
                                      </p:to>
                                    </p:set>
                                    <p:animEffect transition="in" filter="fade">
                                      <p:cBhvr>
                                        <p:cTn id="16" dur="500"/>
                                        <p:tgtEl>
                                          <p:spTgt spid="10">
                                            <p:txEl>
                                              <p:pRg st="2" end="2"/>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0">
                                            <p:txEl>
                                              <p:pRg st="3" end="3"/>
                                            </p:txEl>
                                          </p:spTgt>
                                        </p:tgtEl>
                                        <p:attrNameLst>
                                          <p:attrName>style.visibility</p:attrName>
                                        </p:attrNameLst>
                                      </p:cBhvr>
                                      <p:to>
                                        <p:strVal val="visible"/>
                                      </p:to>
                                    </p:set>
                                    <p:animEffect transition="in" filter="fade">
                                      <p:cBhvr>
                                        <p:cTn id="20" dur="500"/>
                                        <p:tgtEl>
                                          <p:spTgt spid="10">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0">
                                            <p:txEl>
                                              <p:pRg st="4" end="4"/>
                                            </p:txEl>
                                          </p:spTgt>
                                        </p:tgtEl>
                                        <p:attrNameLst>
                                          <p:attrName>style.visibility</p:attrName>
                                        </p:attrNameLst>
                                      </p:cBhvr>
                                      <p:to>
                                        <p:strVal val="visible"/>
                                      </p:to>
                                    </p:set>
                                    <p:animEffect transition="in" filter="fade">
                                      <p:cBhvr>
                                        <p:cTn id="25" dur="500"/>
                                        <p:tgtEl>
                                          <p:spTgt spid="10">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xEl>
                                              <p:pRg st="5" end="5"/>
                                            </p:txEl>
                                          </p:spTgt>
                                        </p:tgtEl>
                                        <p:attrNameLst>
                                          <p:attrName>style.visibility</p:attrName>
                                        </p:attrNameLst>
                                      </p:cBhvr>
                                      <p:to>
                                        <p:strVal val="visible"/>
                                      </p:to>
                                    </p:set>
                                    <p:animEffect transition="in" filter="fade">
                                      <p:cBhvr>
                                        <p:cTn id="30" dur="500"/>
                                        <p:tgtEl>
                                          <p:spTgt spid="10">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
                                            <p:txEl>
                                              <p:pRg st="6" end="6"/>
                                            </p:txEl>
                                          </p:spTgt>
                                        </p:tgtEl>
                                        <p:attrNameLst>
                                          <p:attrName>style.visibility</p:attrName>
                                        </p:attrNameLst>
                                      </p:cBhvr>
                                      <p:to>
                                        <p:strVal val="visible"/>
                                      </p:to>
                                    </p:set>
                                    <p:animEffect transition="in" filter="fade">
                                      <p:cBhvr>
                                        <p:cTn id="35" dur="500"/>
                                        <p:tgtEl>
                                          <p:spTgt spid="10">
                                            <p:txEl>
                                              <p:pRg st="6" end="6"/>
                                            </p:txEl>
                                          </p:spTgt>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10">
                                            <p:txEl>
                                              <p:pRg st="7" end="7"/>
                                            </p:txEl>
                                          </p:spTgt>
                                        </p:tgtEl>
                                        <p:attrNameLst>
                                          <p:attrName>style.visibility</p:attrName>
                                        </p:attrNameLst>
                                      </p:cBhvr>
                                      <p:to>
                                        <p:strVal val="visible"/>
                                      </p:to>
                                    </p:set>
                                    <p:animEffect transition="in" filter="fade">
                                      <p:cBhvr>
                                        <p:cTn id="39"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33361-26D1-4118-99CB-A5545E724B8F}"/>
              </a:ext>
            </a:extLst>
          </p:cNvPr>
          <p:cNvSpPr>
            <a:spLocks noGrp="1"/>
          </p:cNvSpPr>
          <p:nvPr>
            <p:ph type="title"/>
          </p:nvPr>
        </p:nvSpPr>
        <p:spPr>
          <a:xfrm>
            <a:off x="0" y="309843"/>
            <a:ext cx="9144000" cy="3873178"/>
          </a:xfrm>
        </p:spPr>
        <p:txBody>
          <a:bodyPr>
            <a:normAutofit/>
          </a:bodyPr>
          <a:lstStyle/>
          <a:p>
            <a:r>
              <a:rPr lang="en-US" sz="3600">
                <a:solidFill>
                  <a:srgbClr val="2E93B8"/>
                </a:solidFill>
                <a:latin typeface="Roboto Mono Medium for Powerlin" pitchFamily="2" charset="0"/>
                <a:ea typeface="Roboto Mono Medium for Powerlin" pitchFamily="2" charset="0"/>
              </a:rPr>
              <a:t>Azure Exams &amp; Certifications</a:t>
            </a:r>
            <a:br>
              <a:rPr lang="en-GB" sz="3600">
                <a:solidFill>
                  <a:srgbClr val="2E93B8"/>
                </a:solidFill>
                <a:latin typeface="Roboto Mono Medium for Powerlin" pitchFamily="2" charset="0"/>
                <a:ea typeface="Roboto Mono Medium for Powerlin" pitchFamily="2" charset="0"/>
              </a:rPr>
            </a:br>
            <a:br>
              <a:rPr lang="en-GB" sz="3200">
                <a:solidFill>
                  <a:srgbClr val="2E93B8"/>
                </a:solidFill>
                <a:latin typeface="Roboto Mono Medium for Powerlin" pitchFamily="2" charset="0"/>
                <a:ea typeface="Roboto Mono Medium for Powerlin" pitchFamily="2" charset="0"/>
              </a:rPr>
            </a:br>
            <a:r>
              <a:rPr lang="en-GB" sz="3200">
                <a:solidFill>
                  <a:srgbClr val="2E93B8"/>
                </a:solidFill>
                <a:latin typeface="Roboto Mono Medium for Powerlin" pitchFamily="2" charset="0"/>
                <a:ea typeface="Roboto Mono Medium for Powerlin" pitchFamily="2" charset="0"/>
              </a:rPr>
              <a:t>	</a:t>
            </a:r>
            <a:r>
              <a:rPr lang="en-GB" sz="2400">
                <a:solidFill>
                  <a:srgbClr val="2E93B8"/>
                </a:solidFill>
                <a:latin typeface="Roboto Mono Medium for Powerlin" pitchFamily="2" charset="0"/>
                <a:ea typeface="Roboto Mono Medium for Powerlin" pitchFamily="2" charset="0"/>
              </a:rPr>
              <a:t>With </a:t>
            </a:r>
            <a:br>
              <a:rPr lang="en-GB" sz="2400">
                <a:solidFill>
                  <a:srgbClr val="2E93B8"/>
                </a:solidFill>
                <a:latin typeface="Roboto Mono Medium for Powerlin" pitchFamily="2" charset="0"/>
                <a:ea typeface="Roboto Mono Medium for Powerlin" pitchFamily="2" charset="0"/>
              </a:rPr>
            </a:br>
            <a:br>
              <a:rPr lang="en-GB" sz="2400">
                <a:solidFill>
                  <a:srgbClr val="2E93B8"/>
                </a:solidFill>
                <a:latin typeface="Roboto Mono Medium for Powerlin" pitchFamily="2" charset="0"/>
                <a:ea typeface="Roboto Mono Medium for Powerlin" pitchFamily="2" charset="0"/>
              </a:rPr>
            </a:br>
            <a:r>
              <a:rPr lang="en-GB" sz="2400">
                <a:solidFill>
                  <a:srgbClr val="2E93B8"/>
                </a:solidFill>
                <a:latin typeface="Roboto Mono Medium for Powerlin" pitchFamily="2" charset="0"/>
                <a:ea typeface="Roboto Mono Medium for Powerlin" pitchFamily="2" charset="0"/>
              </a:rPr>
              <a:t>Jack Tracey – Cloud Solution Architect @ Microsoft</a:t>
            </a:r>
            <a:br>
              <a:rPr lang="en-GB" sz="2400">
                <a:solidFill>
                  <a:srgbClr val="2E93B8"/>
                </a:solidFill>
                <a:latin typeface="Roboto Mono Medium for Powerlin" pitchFamily="2" charset="0"/>
                <a:ea typeface="Roboto Mono Medium for Powerlin" pitchFamily="2" charset="0"/>
              </a:rPr>
            </a:br>
            <a:r>
              <a:rPr lang="en-GB" sz="2400">
                <a:solidFill>
                  <a:srgbClr val="2E93B8"/>
                </a:solidFill>
                <a:latin typeface="Roboto Mono Medium for Powerlin" pitchFamily="2" charset="0"/>
                <a:ea typeface="Roboto Mono Medium for Powerlin" pitchFamily="2" charset="0"/>
              </a:rPr>
              <a:t>Ryan Littlemore – Azure Infrastructure Specialist @ Microsoft</a:t>
            </a:r>
            <a:br>
              <a:rPr lang="en-GB" sz="2400">
                <a:solidFill>
                  <a:srgbClr val="2E93B8"/>
                </a:solidFill>
                <a:latin typeface="Roboto Mono Medium for Powerlin" pitchFamily="2" charset="0"/>
                <a:ea typeface="Roboto Mono Medium for Powerlin" pitchFamily="2" charset="0"/>
              </a:rPr>
            </a:br>
            <a:r>
              <a:rPr lang="en-GB" sz="2400">
                <a:solidFill>
                  <a:srgbClr val="2E93B8"/>
                </a:solidFill>
                <a:latin typeface="Roboto Mono Medium for Powerlin" pitchFamily="2" charset="0"/>
                <a:ea typeface="Roboto Mono Medium for Powerlin" pitchFamily="2" charset="0"/>
              </a:rPr>
              <a:t>Paul Grimley – Cloud Solution Architect @ Microsoft</a:t>
            </a:r>
            <a:endParaRPr lang="en-GB" sz="3600">
              <a:solidFill>
                <a:srgbClr val="2E93B8"/>
              </a:solidFill>
              <a:latin typeface="Roboto Mono Medium for Powerlin" pitchFamily="2" charset="0"/>
              <a:ea typeface="Roboto Mono Medium for Powerlin" pitchFamily="2" charset="0"/>
            </a:endParaRPr>
          </a:p>
        </p:txBody>
      </p:sp>
      <p:pic>
        <p:nvPicPr>
          <p:cNvPr id="5" name="Picture 4">
            <a:extLst>
              <a:ext uri="{FF2B5EF4-FFF2-40B4-BE49-F238E27FC236}">
                <a16:creationId xmlns:a16="http://schemas.microsoft.com/office/drawing/2014/main" id="{65351B6B-5325-4A75-8847-6343848BC0E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Tree>
    <p:extLst>
      <p:ext uri="{BB962C8B-B14F-4D97-AF65-F5344CB8AC3E}">
        <p14:creationId xmlns:p14="http://schemas.microsoft.com/office/powerpoint/2010/main" val="2714039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1279089"/>
            <a:ext cx="8759388" cy="25853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What's the point?</a:t>
            </a:r>
          </a:p>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What impact will it have on my career?</a:t>
            </a:r>
          </a:p>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Potentially increased/higher salary</a:t>
            </a:r>
          </a:p>
          <a:p>
            <a:pPr marL="285750" lvl="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Good targets to set for 1-2-1’s at work</a:t>
            </a:r>
          </a:p>
          <a:p>
            <a:pPr lvl="1">
              <a:lnSpc>
                <a:spcPct val="150000"/>
              </a:lnSpc>
            </a:pPr>
            <a:r>
              <a:rPr lang="en-GB" sz="1800" b="1">
                <a:solidFill>
                  <a:srgbClr val="2E93B8"/>
                </a:solidFill>
                <a:latin typeface="Roboto Mono Medium for Powerlin" pitchFamily="2" charset="0"/>
                <a:ea typeface="Roboto Mono Medium for Powerlin" pitchFamily="2" charset="0"/>
              </a:rPr>
              <a:t>	- Especially if they pay for your study &amp; exam!</a:t>
            </a:r>
          </a:p>
          <a:p>
            <a:pPr marL="285750" lvl="0" indent="-285750">
              <a:lnSpc>
                <a:spcPct val="150000"/>
              </a:lnSpc>
              <a:buFont typeface="Arial" panose="020B0604020202020204" pitchFamily="34" charset="0"/>
              <a:buChar char="•"/>
            </a:pPr>
            <a:endPar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1343193"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WHY?</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37611720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863591"/>
            <a:ext cx="8759388" cy="34163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What exam/path should you choose?</a:t>
            </a:r>
          </a:p>
          <a:p>
            <a:pPr marL="285750" lvl="0" indent="-285750">
              <a:lnSpc>
                <a:spcPct val="150000"/>
              </a:lnSpc>
              <a:buFont typeface="Arial" panose="020B0604020202020204" pitchFamily="34" charset="0"/>
              <a:buChar char="•"/>
            </a:pPr>
            <a:r>
              <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rPr>
              <a:t>What do you want to learn? – need to enjoy it!</a:t>
            </a:r>
          </a:p>
          <a:p>
            <a:pPr marL="285750" lvl="0" indent="-285750">
              <a:lnSpc>
                <a:spcPct val="150000"/>
              </a:lnSpc>
              <a:buFont typeface="Arial" panose="020B0604020202020204" pitchFamily="34" charset="0"/>
              <a:buChar char="•"/>
            </a:pPr>
            <a:r>
              <a:rPr lang="en-GB" sz="1800" b="1" dirty="0">
                <a:solidFill>
                  <a:srgbClr val="2E93B8"/>
                </a:solidFill>
                <a:latin typeface="Roboto Mono Medium for Powerlin" pitchFamily="2" charset="0"/>
                <a:ea typeface="Roboto Mono Medium for Powerlin" pitchFamily="2" charset="0"/>
              </a:rPr>
              <a:t>Take a free Azure Exam Self Assessment from 2 MVPs:</a:t>
            </a:r>
          </a:p>
          <a:p>
            <a:pPr lvl="0" algn="ctr">
              <a:lnSpc>
                <a:spcPct val="150000"/>
              </a:lnSpc>
            </a:pPr>
            <a:r>
              <a:rPr lang="en-GB" sz="1800" b="1" i="1" dirty="0">
                <a:solidFill>
                  <a:srgbClr val="2E93B8"/>
                </a:solidFill>
                <a:latin typeface="Roboto Mono Medium for Powerlin" pitchFamily="2" charset="0"/>
                <a:ea typeface="Roboto Mono Medium for Powerlin" pitchFamily="2" charset="0"/>
              </a:rPr>
              <a:t>build5nines.com/free-</a:t>
            </a:r>
            <a:r>
              <a:rPr lang="en-GB" sz="1800" b="1" i="1" dirty="0" err="1">
                <a:solidFill>
                  <a:srgbClr val="2E93B8"/>
                </a:solidFill>
                <a:latin typeface="Roboto Mono Medium for Powerlin" pitchFamily="2" charset="0"/>
                <a:ea typeface="Roboto Mono Medium for Powerlin" pitchFamily="2" charset="0"/>
              </a:rPr>
              <a:t>oss</a:t>
            </a:r>
            <a:r>
              <a:rPr lang="en-GB" sz="1800" b="1" i="1" dirty="0">
                <a:solidFill>
                  <a:srgbClr val="2E93B8"/>
                </a:solidFill>
                <a:latin typeface="Roboto Mono Medium for Powerlin" pitchFamily="2" charset="0"/>
                <a:ea typeface="Roboto Mono Medium for Powerlin" pitchFamily="2" charset="0"/>
              </a:rPr>
              <a:t>-exam-self-assessment-tool</a:t>
            </a:r>
            <a:endParaRPr kumimoji="0" lang="en-GB" sz="1800" b="1" i="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sym typeface="Arial"/>
            </a:endParaRPr>
          </a:p>
          <a:p>
            <a:pPr marL="285750" lvl="0" indent="-285750">
              <a:lnSpc>
                <a:spcPct val="150000"/>
              </a:lnSpc>
              <a:buFont typeface="Arial" panose="020B0604020202020204" pitchFamily="34" charset="0"/>
              <a:buChar char="•"/>
            </a:pPr>
            <a:endParaRPr lang="en-GB" sz="1800" b="1" dirty="0">
              <a:solidFill>
                <a:srgbClr val="2E93B8"/>
              </a:solidFill>
              <a:latin typeface="Roboto Mono Medium for Powerlin" pitchFamily="2" charset="0"/>
              <a:ea typeface="Roboto Mono Medium for Powerlin" pitchFamily="2" charset="0"/>
            </a:endParaRPr>
          </a:p>
          <a:p>
            <a:pPr marL="285750" lvl="0" indent="-285750">
              <a:lnSpc>
                <a:spcPct val="150000"/>
              </a:lnSpc>
              <a:buFont typeface="Arial" panose="020B0604020202020204" pitchFamily="34" charset="0"/>
              <a:buChar char="•"/>
            </a:pPr>
            <a:endParaRPr kumimoji="0" lang="en-GB" sz="18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cs typeface="Arial"/>
              <a:sym typeface="Arial"/>
            </a:endParaRPr>
          </a:p>
          <a:p>
            <a:pPr lvl="0" algn="ctr">
              <a:lnSpc>
                <a:spcPct val="150000"/>
              </a:lnSpc>
            </a:pPr>
            <a:r>
              <a:rPr lang="en-GB" sz="3600" b="1" dirty="0">
                <a:solidFill>
                  <a:srgbClr val="2E93B8"/>
                </a:solidFill>
                <a:latin typeface="Roboto Mono Medium for Powerlin" pitchFamily="2" charset="0"/>
                <a:ea typeface="Roboto Mono Medium for Powerlin" pitchFamily="2" charset="0"/>
              </a:rPr>
              <a:t>aka.ms/</a:t>
            </a:r>
            <a:r>
              <a:rPr lang="en-GB" sz="3600" b="1" dirty="0" err="1">
                <a:solidFill>
                  <a:srgbClr val="2E93B8"/>
                </a:solidFill>
                <a:latin typeface="Roboto Mono Medium for Powerlin" pitchFamily="2" charset="0"/>
                <a:ea typeface="Roboto Mono Medium for Powerlin" pitchFamily="2" charset="0"/>
              </a:rPr>
              <a:t>TrainCertPoster</a:t>
            </a:r>
            <a:endParaRPr kumimoji="0" lang="en-GB" sz="3600" b="1" u="none" strike="noStrike" kern="0" cap="none" spc="0" normalizeH="0" baseline="0" noProof="0" dirty="0">
              <a:ln>
                <a:noFill/>
              </a:ln>
              <a:solidFill>
                <a:srgbClr val="2E93B8"/>
              </a:solidFill>
              <a:effectLst/>
              <a:uLnTx/>
              <a:uFillTx/>
              <a:latin typeface="Roboto Mono Medium for Powerlin" pitchFamily="2" charset="0"/>
              <a:ea typeface="Roboto Mono Medium for Powerlin" pitchFamily="2" charset="0"/>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2212623"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EXAM PATHS</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3467035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animEffect transition="in" filter="fade">
                                      <p:cBhvr>
                                        <p:cTn id="19" dur="500"/>
                                        <p:tgtEl>
                                          <p:spTgt spid="1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422D8AA-BFD8-4C5B-AEAB-6BC5196920C3}"/>
              </a:ext>
              <a:ext uri="{C183D7F6-B498-43B3-948B-1728B52AA6E4}">
                <adec:decorative xmlns:adec="http://schemas.microsoft.com/office/drawing/2017/decorative" val="1"/>
              </a:ext>
            </a:extLst>
          </p:cNvPr>
          <p:cNvGrpSpPr/>
          <p:nvPr/>
        </p:nvGrpSpPr>
        <p:grpSpPr>
          <a:xfrm>
            <a:off x="235065" y="833961"/>
            <a:ext cx="8635734" cy="4055479"/>
            <a:chOff x="313420" y="1140083"/>
            <a:chExt cx="11514312" cy="5407305"/>
          </a:xfrm>
        </p:grpSpPr>
        <p:grpSp>
          <p:nvGrpSpPr>
            <p:cNvPr id="15" name="Group 14">
              <a:extLst>
                <a:ext uri="{FF2B5EF4-FFF2-40B4-BE49-F238E27FC236}">
                  <a16:creationId xmlns:a16="http://schemas.microsoft.com/office/drawing/2014/main" id="{7E653C7A-1B24-480F-9156-0CB3B3DBC2D6}"/>
                </a:ext>
              </a:extLst>
            </p:cNvPr>
            <p:cNvGrpSpPr/>
            <p:nvPr/>
          </p:nvGrpSpPr>
          <p:grpSpPr>
            <a:xfrm>
              <a:off x="313420" y="1140083"/>
              <a:ext cx="11514312" cy="5407305"/>
              <a:chOff x="313420" y="1140083"/>
              <a:chExt cx="11514312" cy="5407305"/>
            </a:xfrm>
          </p:grpSpPr>
          <p:grpSp>
            <p:nvGrpSpPr>
              <p:cNvPr id="11" name="Group 10">
                <a:extLst>
                  <a:ext uri="{FF2B5EF4-FFF2-40B4-BE49-F238E27FC236}">
                    <a16:creationId xmlns:a16="http://schemas.microsoft.com/office/drawing/2014/main" id="{EC5A535C-954E-4805-BC2A-2BBC5724F10A}"/>
                  </a:ext>
                  <a:ext uri="{C183D7F6-B498-43B3-948B-1728B52AA6E4}">
                    <adec:decorative xmlns:adec="http://schemas.microsoft.com/office/drawing/2017/decorative" val="1"/>
                  </a:ext>
                </a:extLst>
              </p:cNvPr>
              <p:cNvGrpSpPr/>
              <p:nvPr/>
            </p:nvGrpSpPr>
            <p:grpSpPr>
              <a:xfrm>
                <a:off x="313420" y="1140083"/>
                <a:ext cx="11514312" cy="5407305"/>
                <a:chOff x="313420" y="1140083"/>
                <a:chExt cx="11514312" cy="5407305"/>
              </a:xfrm>
            </p:grpSpPr>
            <p:grpSp>
              <p:nvGrpSpPr>
                <p:cNvPr id="3" name="Group 2">
                  <a:extLst>
                    <a:ext uri="{FF2B5EF4-FFF2-40B4-BE49-F238E27FC236}">
                      <a16:creationId xmlns:a16="http://schemas.microsoft.com/office/drawing/2014/main" id="{8199C49E-5215-4DF5-9161-BE556E13866F}"/>
                    </a:ext>
                  </a:extLst>
                </p:cNvPr>
                <p:cNvGrpSpPr/>
                <p:nvPr/>
              </p:nvGrpSpPr>
              <p:grpSpPr>
                <a:xfrm>
                  <a:off x="313420" y="1140083"/>
                  <a:ext cx="11514312" cy="5407305"/>
                  <a:chOff x="313420" y="1140083"/>
                  <a:chExt cx="11514312" cy="5407305"/>
                </a:xfrm>
              </p:grpSpPr>
              <p:sp>
                <p:nvSpPr>
                  <p:cNvPr id="155" name="Rectangle 154">
                    <a:extLst>
                      <a:ext uri="{FF2B5EF4-FFF2-40B4-BE49-F238E27FC236}">
                        <a16:creationId xmlns:a16="http://schemas.microsoft.com/office/drawing/2014/main" id="{A100BAF5-9C2C-4E16-A0DE-1651CFCE86B9}"/>
                      </a:ext>
                      <a:ext uri="{C183D7F6-B498-43B3-948B-1728B52AA6E4}">
                        <adec:decorative xmlns:adec="http://schemas.microsoft.com/office/drawing/2017/decorative" val="1"/>
                      </a:ext>
                    </a:extLst>
                  </p:cNvPr>
                  <p:cNvSpPr/>
                  <p:nvPr/>
                </p:nvSpPr>
                <p:spPr>
                  <a:xfrm>
                    <a:off x="1388322" y="1876890"/>
                    <a:ext cx="3053059" cy="11657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58" name="Rectangle 157">
                    <a:extLst>
                      <a:ext uri="{FF2B5EF4-FFF2-40B4-BE49-F238E27FC236}">
                        <a16:creationId xmlns:a16="http://schemas.microsoft.com/office/drawing/2014/main" id="{F9678420-5789-4B1F-9A2A-3D8EC443B666}"/>
                      </a:ext>
                      <a:ext uri="{C183D7F6-B498-43B3-948B-1728B52AA6E4}">
                        <adec:decorative xmlns:adec="http://schemas.microsoft.com/office/drawing/2017/decorative" val="1"/>
                      </a:ext>
                    </a:extLst>
                  </p:cNvPr>
                  <p:cNvSpPr/>
                  <p:nvPr/>
                </p:nvSpPr>
                <p:spPr>
                  <a:xfrm>
                    <a:off x="10042290" y="1140083"/>
                    <a:ext cx="1785442" cy="1948399"/>
                  </a:xfrm>
                  <a:prstGeom prst="rect">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r>
                      <a:rPr lang="en-US" sz="1350" kern="1200">
                        <a:solidFill>
                          <a:prstClr val="white"/>
                        </a:solidFill>
                        <a:latin typeface="Segoe UI"/>
                      </a:rPr>
                      <a:t> </a:t>
                    </a:r>
                  </a:p>
                </p:txBody>
              </p:sp>
              <p:sp>
                <p:nvSpPr>
                  <p:cNvPr id="154" name="Rectangle 153">
                    <a:extLst>
                      <a:ext uri="{FF2B5EF4-FFF2-40B4-BE49-F238E27FC236}">
                        <a16:creationId xmlns:a16="http://schemas.microsoft.com/office/drawing/2014/main" id="{9374C03F-F200-4AEF-B34A-A70F517DA05B}"/>
                      </a:ext>
                      <a:ext uri="{C183D7F6-B498-43B3-948B-1728B52AA6E4}">
                        <adec:decorative xmlns:adec="http://schemas.microsoft.com/office/drawing/2017/decorative" val="1"/>
                      </a:ext>
                    </a:extLst>
                  </p:cNvPr>
                  <p:cNvSpPr/>
                  <p:nvPr/>
                </p:nvSpPr>
                <p:spPr>
                  <a:xfrm>
                    <a:off x="6283098" y="1874496"/>
                    <a:ext cx="3689100" cy="1166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56" name="Rectangle 155">
                    <a:extLst>
                      <a:ext uri="{FF2B5EF4-FFF2-40B4-BE49-F238E27FC236}">
                        <a16:creationId xmlns:a16="http://schemas.microsoft.com/office/drawing/2014/main" id="{203BC4FB-86D8-47DA-890D-7046CFAE7B49}"/>
                      </a:ext>
                      <a:ext uri="{C183D7F6-B498-43B3-948B-1728B52AA6E4}">
                        <adec:decorative xmlns:adec="http://schemas.microsoft.com/office/drawing/2017/decorative" val="1"/>
                      </a:ext>
                    </a:extLst>
                  </p:cNvPr>
                  <p:cNvSpPr/>
                  <p:nvPr/>
                </p:nvSpPr>
                <p:spPr>
                  <a:xfrm>
                    <a:off x="4499244" y="1876890"/>
                    <a:ext cx="1731865" cy="11657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 name="Rectangle 12">
                    <a:extLst>
                      <a:ext uri="{FF2B5EF4-FFF2-40B4-BE49-F238E27FC236}">
                        <a16:creationId xmlns:a16="http://schemas.microsoft.com/office/drawing/2014/main" id="{28A28623-C871-4BE5-9296-8C86226194F8}"/>
                      </a:ext>
                      <a:ext uri="{C183D7F6-B498-43B3-948B-1728B52AA6E4}">
                        <adec:decorative xmlns:adec="http://schemas.microsoft.com/office/drawing/2017/decorative" val="1"/>
                      </a:ext>
                    </a:extLst>
                  </p:cNvPr>
                  <p:cNvSpPr/>
                  <p:nvPr/>
                </p:nvSpPr>
                <p:spPr>
                  <a:xfrm>
                    <a:off x="1388322" y="3070838"/>
                    <a:ext cx="3059654" cy="26326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8" name="green header">
                    <a:extLst>
                      <a:ext uri="{FF2B5EF4-FFF2-40B4-BE49-F238E27FC236}">
                        <a16:creationId xmlns:a16="http://schemas.microsoft.com/office/drawing/2014/main" id="{5B4137E4-B659-433A-97FE-5B1BCE48DB1D}"/>
                      </a:ext>
                      <a:ext uri="{C183D7F6-B498-43B3-948B-1728B52AA6E4}">
                        <adec:decorative xmlns:adec="http://schemas.microsoft.com/office/drawing/2017/decorative" val="1"/>
                      </a:ext>
                    </a:extLst>
                  </p:cNvPr>
                  <p:cNvSpPr/>
                  <p:nvPr/>
                </p:nvSpPr>
                <p:spPr>
                  <a:xfrm>
                    <a:off x="6283022" y="1183033"/>
                    <a:ext cx="3685394" cy="708329"/>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7" name="Blue header">
                    <a:extLst>
                      <a:ext uri="{FF2B5EF4-FFF2-40B4-BE49-F238E27FC236}">
                        <a16:creationId xmlns:a16="http://schemas.microsoft.com/office/drawing/2014/main" id="{CFBECD31-E999-41F0-81CD-68AEBA3FA068}"/>
                      </a:ext>
                      <a:ext uri="{C183D7F6-B498-43B3-948B-1728B52AA6E4}">
                        <adec:decorative xmlns:adec="http://schemas.microsoft.com/office/drawing/2017/decorative" val="1"/>
                      </a:ext>
                    </a:extLst>
                  </p:cNvPr>
                  <p:cNvSpPr/>
                  <p:nvPr/>
                </p:nvSpPr>
                <p:spPr>
                  <a:xfrm>
                    <a:off x="4499244" y="1183033"/>
                    <a:ext cx="1736343" cy="710422"/>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33" name="Rectangle 32">
                    <a:extLst>
                      <a:ext uri="{FF2B5EF4-FFF2-40B4-BE49-F238E27FC236}">
                        <a16:creationId xmlns:a16="http://schemas.microsoft.com/office/drawing/2014/main" id="{006DAFBC-3A60-4593-A967-DC23E072B243}"/>
                      </a:ext>
                      <a:ext uri="{C183D7F6-B498-43B3-948B-1728B52AA6E4}">
                        <adec:decorative xmlns:adec="http://schemas.microsoft.com/office/drawing/2017/decorative" val="1"/>
                      </a:ext>
                    </a:extLst>
                  </p:cNvPr>
                  <p:cNvSpPr/>
                  <p:nvPr/>
                </p:nvSpPr>
                <p:spPr>
                  <a:xfrm>
                    <a:off x="1388323" y="5738048"/>
                    <a:ext cx="3053058" cy="809291"/>
                  </a:xfrm>
                  <a:prstGeom prst="rect">
                    <a:avLst/>
                  </a:prstGeom>
                  <a:solidFill>
                    <a:schemeClr val="bg1">
                      <a:lumMod val="95000"/>
                    </a:schemeClr>
                  </a:solidFill>
                  <a:ln>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788" kern="1200">
                      <a:solidFill>
                        <a:prstClr val="white"/>
                      </a:solidFill>
                      <a:latin typeface="Calibri" panose="020F0502020204030204"/>
                    </a:endParaRPr>
                  </a:p>
                </p:txBody>
              </p:sp>
              <p:sp>
                <p:nvSpPr>
                  <p:cNvPr id="123" name="Rectangle 122">
                    <a:extLst>
                      <a:ext uri="{FF2B5EF4-FFF2-40B4-BE49-F238E27FC236}">
                        <a16:creationId xmlns:a16="http://schemas.microsoft.com/office/drawing/2014/main" id="{9657D768-7FB2-49B6-9460-70AC7B9AF222}"/>
                      </a:ext>
                      <a:ext uri="{C183D7F6-B498-43B3-948B-1728B52AA6E4}">
                        <adec:decorative xmlns:adec="http://schemas.microsoft.com/office/drawing/2017/decorative" val="1"/>
                      </a:ext>
                    </a:extLst>
                  </p:cNvPr>
                  <p:cNvSpPr/>
                  <p:nvPr/>
                </p:nvSpPr>
                <p:spPr>
                  <a:xfrm>
                    <a:off x="4502564" y="5745869"/>
                    <a:ext cx="1726409" cy="801519"/>
                  </a:xfrm>
                  <a:prstGeom prst="rect">
                    <a:avLst/>
                  </a:prstGeom>
                  <a:solidFill>
                    <a:schemeClr val="bg1">
                      <a:lumMod val="95000"/>
                    </a:schemeClr>
                  </a:solidFill>
                  <a:ln>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788" kern="1200">
                      <a:solidFill>
                        <a:prstClr val="white"/>
                      </a:solidFill>
                      <a:latin typeface="Calibri" panose="020F0502020204030204"/>
                    </a:endParaRPr>
                  </a:p>
                </p:txBody>
              </p:sp>
              <p:sp>
                <p:nvSpPr>
                  <p:cNvPr id="124" name="Rectangle 123">
                    <a:extLst>
                      <a:ext uri="{FF2B5EF4-FFF2-40B4-BE49-F238E27FC236}">
                        <a16:creationId xmlns:a16="http://schemas.microsoft.com/office/drawing/2014/main" id="{57522E60-9581-4BF8-BF88-69D801F98269}"/>
                      </a:ext>
                      <a:ext uri="{C183D7F6-B498-43B3-948B-1728B52AA6E4}">
                        <adec:decorative xmlns:adec="http://schemas.microsoft.com/office/drawing/2017/decorative" val="1"/>
                      </a:ext>
                    </a:extLst>
                  </p:cNvPr>
                  <p:cNvSpPr/>
                  <p:nvPr/>
                </p:nvSpPr>
                <p:spPr>
                  <a:xfrm>
                    <a:off x="6279202" y="5745869"/>
                    <a:ext cx="3689097" cy="801519"/>
                  </a:xfrm>
                  <a:prstGeom prst="rect">
                    <a:avLst/>
                  </a:prstGeom>
                  <a:solidFill>
                    <a:schemeClr val="bg1">
                      <a:lumMod val="95000"/>
                    </a:schemeClr>
                  </a:solidFill>
                  <a:ln>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788" kern="1200">
                      <a:solidFill>
                        <a:prstClr val="white"/>
                      </a:solidFill>
                      <a:latin typeface="Calibri" panose="020F0502020204030204"/>
                    </a:endParaRPr>
                  </a:p>
                </p:txBody>
              </p:sp>
              <p:sp>
                <p:nvSpPr>
                  <p:cNvPr id="34" name="Rectangle 33">
                    <a:extLst>
                      <a:ext uri="{FF2B5EF4-FFF2-40B4-BE49-F238E27FC236}">
                        <a16:creationId xmlns:a16="http://schemas.microsoft.com/office/drawing/2014/main" id="{A0EDF320-82DD-47DF-9B90-0E8BB741990A}"/>
                      </a:ext>
                      <a:ext uri="{C183D7F6-B498-43B3-948B-1728B52AA6E4}">
                        <adec:decorative xmlns:adec="http://schemas.microsoft.com/office/drawing/2017/decorative" val="1"/>
                      </a:ext>
                    </a:extLst>
                  </p:cNvPr>
                  <p:cNvSpPr/>
                  <p:nvPr/>
                </p:nvSpPr>
                <p:spPr>
                  <a:xfrm>
                    <a:off x="10044440" y="3088482"/>
                    <a:ext cx="1778847" cy="3458852"/>
                  </a:xfrm>
                  <a:prstGeom prst="rect">
                    <a:avLst/>
                  </a:prstGeom>
                  <a:solidFill>
                    <a:srgbClr val="F2F2F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Calibri" panose="020F0502020204030204"/>
                    </a:endParaRPr>
                  </a:p>
                </p:txBody>
              </p:sp>
              <p:cxnSp>
                <p:nvCxnSpPr>
                  <p:cNvPr id="129" name="Straight Connector 128">
                    <a:extLst>
                      <a:ext uri="{FF2B5EF4-FFF2-40B4-BE49-F238E27FC236}">
                        <a16:creationId xmlns:a16="http://schemas.microsoft.com/office/drawing/2014/main" id="{6DE07094-AB4B-4D8D-84E5-1AD897FEDD18}"/>
                      </a:ext>
                      <a:ext uri="{C183D7F6-B498-43B3-948B-1728B52AA6E4}">
                        <adec:decorative xmlns:adec="http://schemas.microsoft.com/office/drawing/2017/decorative" val="1"/>
                      </a:ext>
                    </a:extLst>
                  </p:cNvPr>
                  <p:cNvCxnSpPr>
                    <a:cxnSpLocks/>
                  </p:cNvCxnSpPr>
                  <p:nvPr/>
                </p:nvCxnSpPr>
                <p:spPr>
                  <a:xfrm flipH="1">
                    <a:off x="313420" y="3061387"/>
                    <a:ext cx="1078928" cy="0"/>
                  </a:xfrm>
                  <a:prstGeom prst="line">
                    <a:avLst/>
                  </a:prstGeom>
                  <a:noFill/>
                  <a:ln w="28575" cap="flat" cmpd="sng" algn="ctr">
                    <a:solidFill>
                      <a:schemeClr val="bg1">
                        <a:lumMod val="95000"/>
                      </a:schemeClr>
                    </a:solidFill>
                    <a:prstDash val="solid"/>
                  </a:ln>
                  <a:effectLst/>
                </p:spPr>
              </p:cxnSp>
              <p:sp>
                <p:nvSpPr>
                  <p:cNvPr id="157" name="dark bar">
                    <a:extLst>
                      <a:ext uri="{FF2B5EF4-FFF2-40B4-BE49-F238E27FC236}">
                        <a16:creationId xmlns:a16="http://schemas.microsoft.com/office/drawing/2014/main" id="{C74300E0-2B8F-4EC4-AE8D-4068068CD5A8}"/>
                      </a:ext>
                      <a:ext uri="{C183D7F6-B498-43B3-948B-1728B52AA6E4}">
                        <adec:decorative xmlns:adec="http://schemas.microsoft.com/office/drawing/2017/decorative" val="1"/>
                      </a:ext>
                    </a:extLst>
                  </p:cNvPr>
                  <p:cNvSpPr/>
                  <p:nvPr/>
                </p:nvSpPr>
                <p:spPr>
                  <a:xfrm>
                    <a:off x="314545" y="1140090"/>
                    <a:ext cx="9654878" cy="45719"/>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6" name="Light blue Header">
                    <a:extLst>
                      <a:ext uri="{FF2B5EF4-FFF2-40B4-BE49-F238E27FC236}">
                        <a16:creationId xmlns:a16="http://schemas.microsoft.com/office/drawing/2014/main" id="{BB1B6B88-16D8-45B5-BE77-046437490ADB}"/>
                      </a:ext>
                      <a:ext uri="{C183D7F6-B498-43B3-948B-1728B52AA6E4}">
                        <adec:decorative xmlns:adec="http://schemas.microsoft.com/office/drawing/2017/decorative" val="1"/>
                      </a:ext>
                    </a:extLst>
                  </p:cNvPr>
                  <p:cNvSpPr/>
                  <p:nvPr/>
                </p:nvSpPr>
                <p:spPr>
                  <a:xfrm>
                    <a:off x="1388322" y="1183033"/>
                    <a:ext cx="3056377" cy="708329"/>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9" name="Dark Bar">
                    <a:extLst>
                      <a:ext uri="{FF2B5EF4-FFF2-40B4-BE49-F238E27FC236}">
                        <a16:creationId xmlns:a16="http://schemas.microsoft.com/office/drawing/2014/main" id="{F559332C-D269-4F1D-A744-174336733475}"/>
                      </a:ext>
                      <a:ext uri="{C183D7F6-B498-43B3-948B-1728B52AA6E4}">
                        <adec:decorative xmlns:adec="http://schemas.microsoft.com/office/drawing/2017/decorative" val="1"/>
                      </a:ext>
                    </a:extLst>
                  </p:cNvPr>
                  <p:cNvSpPr/>
                  <p:nvPr/>
                </p:nvSpPr>
                <p:spPr>
                  <a:xfrm>
                    <a:off x="313421" y="5727204"/>
                    <a:ext cx="9654878" cy="45719"/>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159" name="Dark bar">
                  <a:extLst>
                    <a:ext uri="{FF2B5EF4-FFF2-40B4-BE49-F238E27FC236}">
                      <a16:creationId xmlns:a16="http://schemas.microsoft.com/office/drawing/2014/main" id="{6373BE7E-15CE-46C6-8476-52C8B7F32720}"/>
                    </a:ext>
                    <a:ext uri="{C183D7F6-B498-43B3-948B-1728B52AA6E4}">
                      <adec:decorative xmlns:adec="http://schemas.microsoft.com/office/drawing/2017/decorative" val="1"/>
                    </a:ext>
                  </a:extLst>
                </p:cNvPr>
                <p:cNvSpPr/>
                <p:nvPr/>
              </p:nvSpPr>
              <p:spPr>
                <a:xfrm rot="16200000">
                  <a:off x="7336315" y="3820849"/>
                  <a:ext cx="5407237" cy="45719"/>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102" name="Rectangle 101">
                <a:extLst>
                  <a:ext uri="{FF2B5EF4-FFF2-40B4-BE49-F238E27FC236}">
                    <a16:creationId xmlns:a16="http://schemas.microsoft.com/office/drawing/2014/main" id="{1402DD16-C746-42C0-9D32-AB349EA834CA}"/>
                  </a:ext>
                  <a:ext uri="{C183D7F6-B498-43B3-948B-1728B52AA6E4}">
                    <adec:decorative xmlns:adec="http://schemas.microsoft.com/office/drawing/2017/decorative" val="1"/>
                  </a:ext>
                </a:extLst>
              </p:cNvPr>
              <p:cNvSpPr/>
              <p:nvPr/>
            </p:nvSpPr>
            <p:spPr>
              <a:xfrm>
                <a:off x="6283098" y="3068444"/>
                <a:ext cx="3689100" cy="26350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101" name="Rectangle 100">
              <a:extLst>
                <a:ext uri="{FF2B5EF4-FFF2-40B4-BE49-F238E27FC236}">
                  <a16:creationId xmlns:a16="http://schemas.microsoft.com/office/drawing/2014/main" id="{7B7B13FC-7F72-4971-80A8-DD5C83EEA940}"/>
                </a:ext>
                <a:ext uri="{C183D7F6-B498-43B3-948B-1728B52AA6E4}">
                  <adec:decorative xmlns:adec="http://schemas.microsoft.com/office/drawing/2017/decorative" val="1"/>
                </a:ext>
              </a:extLst>
            </p:cNvPr>
            <p:cNvSpPr/>
            <p:nvPr/>
          </p:nvSpPr>
          <p:spPr>
            <a:xfrm>
              <a:off x="4499244" y="3070838"/>
              <a:ext cx="1731865" cy="26326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2" name="Title 1">
            <a:extLst>
              <a:ext uri="{FF2B5EF4-FFF2-40B4-BE49-F238E27FC236}">
                <a16:creationId xmlns:a16="http://schemas.microsoft.com/office/drawing/2014/main" id="{953D82C8-D9B6-4DC8-AA6F-891EC8178207}"/>
              </a:ext>
            </a:extLst>
          </p:cNvPr>
          <p:cNvSpPr>
            <a:spLocks noGrp="1"/>
          </p:cNvSpPr>
          <p:nvPr>
            <p:ph type="title"/>
          </p:nvPr>
        </p:nvSpPr>
        <p:spPr>
          <a:xfrm>
            <a:off x="161308" y="211866"/>
            <a:ext cx="4842204" cy="507831"/>
          </a:xfrm>
          <a:noFill/>
        </p:spPr>
        <p:txBody>
          <a:bodyPr>
            <a:normAutofit/>
          </a:bodyPr>
          <a:lstStyle/>
          <a:p>
            <a:pPr lvl="0"/>
            <a:r>
              <a:rPr lang="en-IN" sz="2550">
                <a:latin typeface="Segoe UI Semibold" panose="020B0702040204020203" pitchFamily="34" charset="0"/>
                <a:cs typeface="Segoe UI Semibold" panose="020B0702040204020203" pitchFamily="34" charset="0"/>
              </a:rPr>
              <a:t>Microsoft Certifications</a:t>
            </a:r>
            <a:endParaRPr lang="en-US" sz="2550" spc="-74">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E4FEEFBB-0D38-4B29-A541-4D9F1A6F8017}"/>
              </a:ext>
            </a:extLst>
          </p:cNvPr>
          <p:cNvSpPr txBox="1"/>
          <p:nvPr/>
        </p:nvSpPr>
        <p:spPr>
          <a:xfrm>
            <a:off x="7699757" y="475736"/>
            <a:ext cx="1220207" cy="403957"/>
          </a:xfrm>
          <a:prstGeom prst="rect">
            <a:avLst/>
          </a:prstGeom>
          <a:noFill/>
        </p:spPr>
        <p:txBody>
          <a:bodyPr wrap="none" rtlCol="0">
            <a:spAutoFit/>
          </a:bodyPr>
          <a:lstStyle/>
          <a:p>
            <a:pPr algn="r" defTabSz="685800" hangingPunct="1">
              <a:defRPr/>
            </a:pPr>
            <a:r>
              <a:rPr lang="en-US" sz="675" i="1" kern="1200">
                <a:solidFill>
                  <a:prstClr val="black"/>
                </a:solidFill>
                <a:latin typeface="Segoe UI"/>
                <a:ea typeface="+mn-ea"/>
                <a:cs typeface="+mn-cs"/>
              </a:rPr>
              <a:t>*exam in beta</a:t>
            </a:r>
            <a:br>
              <a:rPr lang="en-US" sz="675" i="1" kern="1200">
                <a:solidFill>
                  <a:prstClr val="black"/>
                </a:solidFill>
                <a:latin typeface="Segoe UI"/>
                <a:ea typeface="+mn-ea"/>
                <a:cs typeface="+mn-cs"/>
              </a:rPr>
            </a:br>
            <a:r>
              <a:rPr lang="en-US" sz="675" i="1" kern="1200">
                <a:solidFill>
                  <a:prstClr val="black"/>
                </a:solidFill>
                <a:latin typeface="Segoe UI"/>
                <a:ea typeface="+mn-ea"/>
                <a:cs typeface="+mn-cs"/>
              </a:rPr>
              <a:t>**beta exams coming soon</a:t>
            </a:r>
          </a:p>
          <a:p>
            <a:pPr algn="r" defTabSz="685800" hangingPunct="1">
              <a:defRPr/>
            </a:pPr>
            <a:r>
              <a:rPr lang="en-US" sz="675" i="1" kern="1200">
                <a:solidFill>
                  <a:prstClr val="black"/>
                </a:solidFill>
                <a:latin typeface="Segoe UI"/>
                <a:ea typeface="+mn-ea"/>
                <a:cs typeface="+mn-cs"/>
              </a:rPr>
              <a:t>^exam refresh coming soon</a:t>
            </a:r>
          </a:p>
        </p:txBody>
      </p:sp>
      <p:sp>
        <p:nvSpPr>
          <p:cNvPr id="55" name="Role based">
            <a:extLst>
              <a:ext uri="{FF2B5EF4-FFF2-40B4-BE49-F238E27FC236}">
                <a16:creationId xmlns:a16="http://schemas.microsoft.com/office/drawing/2014/main" id="{C2A402C6-99D4-48DA-B6DA-E70A25886E3B}"/>
              </a:ext>
            </a:extLst>
          </p:cNvPr>
          <p:cNvSpPr txBox="1">
            <a:spLocks/>
          </p:cNvSpPr>
          <p:nvPr/>
        </p:nvSpPr>
        <p:spPr>
          <a:xfrm>
            <a:off x="235722" y="865305"/>
            <a:ext cx="742468" cy="631968"/>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defTabSz="699557">
              <a:lnSpc>
                <a:spcPct val="90000"/>
              </a:lnSpc>
              <a:spcAft>
                <a:spcPts val="450"/>
              </a:spcAft>
              <a:defRPr/>
            </a:pPr>
            <a:r>
              <a:rPr lang="en-US" sz="900" b="0">
                <a:solidFill>
                  <a:srgbClr val="000000"/>
                </a:solidFill>
                <a:latin typeface="Segoe UI Semibold" panose="020B0702040204020203" pitchFamily="34" charset="0"/>
                <a:cs typeface="Segoe UI Semibold" panose="020B0702040204020203" pitchFamily="34" charset="0"/>
              </a:rPr>
              <a:t>Role-based</a:t>
            </a:r>
          </a:p>
          <a:p>
            <a:pPr defTabSz="699557">
              <a:lnSpc>
                <a:spcPct val="90000"/>
              </a:lnSpc>
              <a:defRPr/>
            </a:pPr>
            <a:r>
              <a:rPr lang="en-US" sz="675" b="0">
                <a:solidFill>
                  <a:srgbClr val="505050"/>
                </a:solidFill>
                <a:latin typeface="Segoe UI" panose="020B0502040204020203" pitchFamily="34" charset="0"/>
              </a:rPr>
              <a:t>Technical skills required to perform a job</a:t>
            </a:r>
          </a:p>
          <a:p>
            <a:pPr defTabSz="699557">
              <a:lnSpc>
                <a:spcPct val="90000"/>
              </a:lnSpc>
              <a:defRPr/>
            </a:pPr>
            <a:endParaRPr lang="en-US" sz="825">
              <a:solidFill>
                <a:prstClr val="black"/>
              </a:solidFill>
              <a:latin typeface="Segoe UI Semibold"/>
            </a:endParaRPr>
          </a:p>
        </p:txBody>
      </p:sp>
      <p:sp>
        <p:nvSpPr>
          <p:cNvPr id="153" name="Rectangle 152">
            <a:extLst>
              <a:ext uri="{FF2B5EF4-FFF2-40B4-BE49-F238E27FC236}">
                <a16:creationId xmlns:a16="http://schemas.microsoft.com/office/drawing/2014/main" id="{A9248314-AD0B-467E-B35F-266332CD4587}"/>
              </a:ext>
            </a:extLst>
          </p:cNvPr>
          <p:cNvSpPr/>
          <p:nvPr/>
        </p:nvSpPr>
        <p:spPr bwMode="auto">
          <a:xfrm>
            <a:off x="480729" y="1960307"/>
            <a:ext cx="528909" cy="207749"/>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r" defTabSz="685775">
              <a:defRPr/>
            </a:pPr>
            <a:r>
              <a:rPr lang="en-US" sz="900">
                <a:solidFill>
                  <a:prstClr val="black">
                    <a:lumMod val="95000"/>
                    <a:lumOff val="5000"/>
                  </a:prstClr>
                </a:solidFill>
                <a:latin typeface="Segoe UI Semibold" panose="020B0702040204020203" pitchFamily="34" charset="0"/>
                <a:cs typeface="Segoe UI Semibold" panose="020B0702040204020203" pitchFamily="34" charset="0"/>
              </a:rPr>
              <a:t>Expert</a:t>
            </a:r>
          </a:p>
        </p:txBody>
      </p:sp>
      <p:sp>
        <p:nvSpPr>
          <p:cNvPr id="80" name="Azure 2">
            <a:extLst>
              <a:ext uri="{FF2B5EF4-FFF2-40B4-BE49-F238E27FC236}">
                <a16:creationId xmlns:a16="http://schemas.microsoft.com/office/drawing/2014/main" id="{ADE641F1-9BC9-4152-B342-B99AA71CDEAF}"/>
              </a:ext>
            </a:extLst>
          </p:cNvPr>
          <p:cNvSpPr/>
          <p:nvPr/>
        </p:nvSpPr>
        <p:spPr>
          <a:xfrm>
            <a:off x="1086485" y="1795779"/>
            <a:ext cx="1030188" cy="22402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DevOps Engineer</a:t>
            </a:r>
          </a:p>
        </p:txBody>
      </p:sp>
      <p:grpSp>
        <p:nvGrpSpPr>
          <p:cNvPr id="51" name="icon 3" descr="Icon of 3 people in a triangle shape connected with lines">
            <a:extLst>
              <a:ext uri="{FF2B5EF4-FFF2-40B4-BE49-F238E27FC236}">
                <a16:creationId xmlns:a16="http://schemas.microsoft.com/office/drawing/2014/main" id="{9D4CA1F8-C9D3-B148-B712-619C255FD8B0}"/>
              </a:ext>
              <a:ext uri="{C183D7F6-B498-43B3-948B-1728B52AA6E4}">
                <adec:decorative xmlns:adec="http://schemas.microsoft.com/office/drawing/2017/decorative" val="1"/>
              </a:ext>
            </a:extLst>
          </p:cNvPr>
          <p:cNvGrpSpPr>
            <a:grpSpLocks noChangeAspect="1"/>
          </p:cNvGrpSpPr>
          <p:nvPr/>
        </p:nvGrpSpPr>
        <p:grpSpPr bwMode="auto">
          <a:xfrm>
            <a:off x="3563431" y="1020577"/>
            <a:ext cx="254835" cy="256238"/>
            <a:chOff x="4807" y="704"/>
            <a:chExt cx="212" cy="211"/>
          </a:xfrm>
        </p:grpSpPr>
        <p:sp>
          <p:nvSpPr>
            <p:cNvPr id="53" name="AutoShape 19">
              <a:extLst>
                <a:ext uri="{FF2B5EF4-FFF2-40B4-BE49-F238E27FC236}">
                  <a16:creationId xmlns:a16="http://schemas.microsoft.com/office/drawing/2014/main" id="{A4A1DA32-F11B-244F-9CC4-69A0E6556AE7}"/>
                </a:ext>
              </a:extLst>
            </p:cNvPr>
            <p:cNvSpPr>
              <a:spLocks noChangeAspect="1" noChangeArrowheads="1" noTextEdit="1"/>
            </p:cNvSpPr>
            <p:nvPr/>
          </p:nvSpPr>
          <p:spPr bwMode="auto">
            <a:xfrm>
              <a:off x="4807" y="704"/>
              <a:ext cx="212"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54" name="Freeform 21">
              <a:extLst>
                <a:ext uri="{FF2B5EF4-FFF2-40B4-BE49-F238E27FC236}">
                  <a16:creationId xmlns:a16="http://schemas.microsoft.com/office/drawing/2014/main" id="{DD1C9022-28EC-454A-B0D9-C1BF2E479F58}"/>
                </a:ext>
              </a:extLst>
            </p:cNvPr>
            <p:cNvSpPr>
              <a:spLocks/>
            </p:cNvSpPr>
            <p:nvPr/>
          </p:nvSpPr>
          <p:spPr bwMode="auto">
            <a:xfrm>
              <a:off x="4856" y="783"/>
              <a:ext cx="50" cy="75"/>
            </a:xfrm>
            <a:custGeom>
              <a:avLst/>
              <a:gdLst>
                <a:gd name="T0" fmla="*/ 12 w 81"/>
                <a:gd name="T1" fmla="*/ 120 h 120"/>
                <a:gd name="T2" fmla="*/ 81 w 81"/>
                <a:gd name="T3" fmla="*/ 0 h 120"/>
                <a:gd name="T4" fmla="*/ 56 w 81"/>
                <a:gd name="T5" fmla="*/ 0 h 120"/>
                <a:gd name="T6" fmla="*/ 0 w 81"/>
                <a:gd name="T7" fmla="*/ 98 h 120"/>
                <a:gd name="T8" fmla="*/ 12 w 81"/>
                <a:gd name="T9" fmla="*/ 120 h 120"/>
              </a:gdLst>
              <a:ahLst/>
              <a:cxnLst>
                <a:cxn ang="0">
                  <a:pos x="T0" y="T1"/>
                </a:cxn>
                <a:cxn ang="0">
                  <a:pos x="T2" y="T3"/>
                </a:cxn>
                <a:cxn ang="0">
                  <a:pos x="T4" y="T5"/>
                </a:cxn>
                <a:cxn ang="0">
                  <a:pos x="T6" y="T7"/>
                </a:cxn>
                <a:cxn ang="0">
                  <a:pos x="T8" y="T9"/>
                </a:cxn>
              </a:cxnLst>
              <a:rect l="0" t="0" r="r" b="b"/>
              <a:pathLst>
                <a:path w="81" h="120">
                  <a:moveTo>
                    <a:pt x="12" y="120"/>
                  </a:moveTo>
                  <a:cubicBezTo>
                    <a:pt x="81" y="0"/>
                    <a:pt x="81" y="0"/>
                    <a:pt x="81" y="0"/>
                  </a:cubicBezTo>
                  <a:cubicBezTo>
                    <a:pt x="56" y="0"/>
                    <a:pt x="56" y="0"/>
                    <a:pt x="56" y="0"/>
                  </a:cubicBezTo>
                  <a:cubicBezTo>
                    <a:pt x="0" y="98"/>
                    <a:pt x="0" y="98"/>
                    <a:pt x="0" y="98"/>
                  </a:cubicBezTo>
                  <a:cubicBezTo>
                    <a:pt x="6" y="104"/>
                    <a:pt x="10" y="112"/>
                    <a:pt x="12" y="1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56" name="Freeform 22">
              <a:extLst>
                <a:ext uri="{FF2B5EF4-FFF2-40B4-BE49-F238E27FC236}">
                  <a16:creationId xmlns:a16="http://schemas.microsoft.com/office/drawing/2014/main" id="{DE6364FC-E364-A94D-8DE1-6DE0035B9F73}"/>
                </a:ext>
              </a:extLst>
            </p:cNvPr>
            <p:cNvSpPr>
              <a:spLocks/>
            </p:cNvSpPr>
            <p:nvPr/>
          </p:nvSpPr>
          <p:spPr bwMode="auto">
            <a:xfrm>
              <a:off x="4871" y="889"/>
              <a:ext cx="85" cy="13"/>
            </a:xfrm>
            <a:custGeom>
              <a:avLst/>
              <a:gdLst>
                <a:gd name="T0" fmla="*/ 11 w 136"/>
                <a:gd name="T1" fmla="*/ 21 h 21"/>
                <a:gd name="T2" fmla="*/ 124 w 136"/>
                <a:gd name="T3" fmla="*/ 21 h 21"/>
                <a:gd name="T4" fmla="*/ 136 w 136"/>
                <a:gd name="T5" fmla="*/ 0 h 21"/>
                <a:gd name="T6" fmla="*/ 0 w 136"/>
                <a:gd name="T7" fmla="*/ 0 h 21"/>
                <a:gd name="T8" fmla="*/ 11 w 136"/>
                <a:gd name="T9" fmla="*/ 21 h 21"/>
              </a:gdLst>
              <a:ahLst/>
              <a:cxnLst>
                <a:cxn ang="0">
                  <a:pos x="T0" y="T1"/>
                </a:cxn>
                <a:cxn ang="0">
                  <a:pos x="T2" y="T3"/>
                </a:cxn>
                <a:cxn ang="0">
                  <a:pos x="T4" y="T5"/>
                </a:cxn>
                <a:cxn ang="0">
                  <a:pos x="T6" y="T7"/>
                </a:cxn>
                <a:cxn ang="0">
                  <a:pos x="T8" y="T9"/>
                </a:cxn>
              </a:cxnLst>
              <a:rect l="0" t="0" r="r" b="b"/>
              <a:pathLst>
                <a:path w="136" h="21">
                  <a:moveTo>
                    <a:pt x="11" y="21"/>
                  </a:moveTo>
                  <a:cubicBezTo>
                    <a:pt x="124" y="21"/>
                    <a:pt x="124" y="21"/>
                    <a:pt x="124" y="21"/>
                  </a:cubicBezTo>
                  <a:cubicBezTo>
                    <a:pt x="127" y="13"/>
                    <a:pt x="131" y="6"/>
                    <a:pt x="136" y="0"/>
                  </a:cubicBezTo>
                  <a:cubicBezTo>
                    <a:pt x="0" y="0"/>
                    <a:pt x="0" y="0"/>
                    <a:pt x="0" y="0"/>
                  </a:cubicBezTo>
                  <a:cubicBezTo>
                    <a:pt x="4" y="6"/>
                    <a:pt x="8" y="13"/>
                    <a:pt x="11"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57" name="Freeform 23">
              <a:extLst>
                <a:ext uri="{FF2B5EF4-FFF2-40B4-BE49-F238E27FC236}">
                  <a16:creationId xmlns:a16="http://schemas.microsoft.com/office/drawing/2014/main" id="{CCAF8E98-6FD1-8C4B-9592-DDFC3F6D9AE0}"/>
                </a:ext>
              </a:extLst>
            </p:cNvPr>
            <p:cNvSpPr>
              <a:spLocks/>
            </p:cNvSpPr>
            <p:nvPr/>
          </p:nvSpPr>
          <p:spPr bwMode="auto">
            <a:xfrm>
              <a:off x="4807" y="885"/>
              <a:ext cx="60" cy="30"/>
            </a:xfrm>
            <a:custGeom>
              <a:avLst/>
              <a:gdLst>
                <a:gd name="T0" fmla="*/ 96 w 96"/>
                <a:gd name="T1" fmla="*/ 48 h 48"/>
                <a:gd name="T2" fmla="*/ 48 w 96"/>
                <a:gd name="T3" fmla="*/ 0 h 48"/>
                <a:gd name="T4" fmla="*/ 0 w 96"/>
                <a:gd name="T5" fmla="*/ 48 h 48"/>
                <a:gd name="T6" fmla="*/ 96 w 96"/>
                <a:gd name="T7" fmla="*/ 48 h 48"/>
              </a:gdLst>
              <a:ahLst/>
              <a:cxnLst>
                <a:cxn ang="0">
                  <a:pos x="T0" y="T1"/>
                </a:cxn>
                <a:cxn ang="0">
                  <a:pos x="T2" y="T3"/>
                </a:cxn>
                <a:cxn ang="0">
                  <a:pos x="T4" y="T5"/>
                </a:cxn>
                <a:cxn ang="0">
                  <a:pos x="T6" y="T7"/>
                </a:cxn>
              </a:cxnLst>
              <a:rect l="0" t="0" r="r" b="b"/>
              <a:pathLst>
                <a:path w="96" h="48">
                  <a:moveTo>
                    <a:pt x="96" y="48"/>
                  </a:moveTo>
                  <a:cubicBezTo>
                    <a:pt x="96" y="22"/>
                    <a:pt x="75" y="0"/>
                    <a:pt x="48" y="0"/>
                  </a:cubicBezTo>
                  <a:cubicBezTo>
                    <a:pt x="21" y="0"/>
                    <a:pt x="0" y="22"/>
                    <a:pt x="0" y="48"/>
                  </a:cubicBezTo>
                  <a:lnTo>
                    <a:pt x="9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58" name="Oval 24">
              <a:extLst>
                <a:ext uri="{FF2B5EF4-FFF2-40B4-BE49-F238E27FC236}">
                  <a16:creationId xmlns:a16="http://schemas.microsoft.com/office/drawing/2014/main" id="{7729BB74-58C7-C04B-A651-954E643A18DF}"/>
                </a:ext>
              </a:extLst>
            </p:cNvPr>
            <p:cNvSpPr>
              <a:spLocks noChangeArrowheads="1"/>
            </p:cNvSpPr>
            <p:nvPr/>
          </p:nvSpPr>
          <p:spPr bwMode="auto">
            <a:xfrm>
              <a:off x="4824" y="849"/>
              <a:ext cx="26" cy="2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60" name="Freeform 25">
              <a:extLst>
                <a:ext uri="{FF2B5EF4-FFF2-40B4-BE49-F238E27FC236}">
                  <a16:creationId xmlns:a16="http://schemas.microsoft.com/office/drawing/2014/main" id="{59708EB6-BB1F-CD43-8FF5-C4B07AE5AA71}"/>
                </a:ext>
              </a:extLst>
            </p:cNvPr>
            <p:cNvSpPr>
              <a:spLocks/>
            </p:cNvSpPr>
            <p:nvPr/>
          </p:nvSpPr>
          <p:spPr bwMode="auto">
            <a:xfrm>
              <a:off x="4959" y="885"/>
              <a:ext cx="60" cy="30"/>
            </a:xfrm>
            <a:custGeom>
              <a:avLst/>
              <a:gdLst>
                <a:gd name="T0" fmla="*/ 96 w 96"/>
                <a:gd name="T1" fmla="*/ 48 h 48"/>
                <a:gd name="T2" fmla="*/ 48 w 96"/>
                <a:gd name="T3" fmla="*/ 0 h 48"/>
                <a:gd name="T4" fmla="*/ 0 w 96"/>
                <a:gd name="T5" fmla="*/ 48 h 48"/>
                <a:gd name="T6" fmla="*/ 96 w 96"/>
                <a:gd name="T7" fmla="*/ 48 h 48"/>
              </a:gdLst>
              <a:ahLst/>
              <a:cxnLst>
                <a:cxn ang="0">
                  <a:pos x="T0" y="T1"/>
                </a:cxn>
                <a:cxn ang="0">
                  <a:pos x="T2" y="T3"/>
                </a:cxn>
                <a:cxn ang="0">
                  <a:pos x="T4" y="T5"/>
                </a:cxn>
                <a:cxn ang="0">
                  <a:pos x="T6" y="T7"/>
                </a:cxn>
              </a:cxnLst>
              <a:rect l="0" t="0" r="r" b="b"/>
              <a:pathLst>
                <a:path w="96" h="48">
                  <a:moveTo>
                    <a:pt x="96" y="48"/>
                  </a:moveTo>
                  <a:cubicBezTo>
                    <a:pt x="96" y="22"/>
                    <a:pt x="75" y="0"/>
                    <a:pt x="48" y="0"/>
                  </a:cubicBezTo>
                  <a:cubicBezTo>
                    <a:pt x="22" y="0"/>
                    <a:pt x="0" y="22"/>
                    <a:pt x="0" y="48"/>
                  </a:cubicBezTo>
                  <a:lnTo>
                    <a:pt x="9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61" name="Oval 26">
              <a:extLst>
                <a:ext uri="{FF2B5EF4-FFF2-40B4-BE49-F238E27FC236}">
                  <a16:creationId xmlns:a16="http://schemas.microsoft.com/office/drawing/2014/main" id="{7BBA229B-5FC5-114B-A399-A862748E052A}"/>
                </a:ext>
              </a:extLst>
            </p:cNvPr>
            <p:cNvSpPr>
              <a:spLocks noChangeArrowheads="1"/>
            </p:cNvSpPr>
            <p:nvPr/>
          </p:nvSpPr>
          <p:spPr bwMode="auto">
            <a:xfrm>
              <a:off x="4976" y="849"/>
              <a:ext cx="27" cy="2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62" name="Freeform 27">
              <a:extLst>
                <a:ext uri="{FF2B5EF4-FFF2-40B4-BE49-F238E27FC236}">
                  <a16:creationId xmlns:a16="http://schemas.microsoft.com/office/drawing/2014/main" id="{BB8F8E57-452A-5F4C-9105-45F27C2E2ACD}"/>
                </a:ext>
              </a:extLst>
            </p:cNvPr>
            <p:cNvSpPr>
              <a:spLocks/>
            </p:cNvSpPr>
            <p:nvPr/>
          </p:nvSpPr>
          <p:spPr bwMode="auto">
            <a:xfrm>
              <a:off x="4884" y="741"/>
              <a:ext cx="59" cy="29"/>
            </a:xfrm>
            <a:custGeom>
              <a:avLst/>
              <a:gdLst>
                <a:gd name="T0" fmla="*/ 96 w 96"/>
                <a:gd name="T1" fmla="*/ 48 h 48"/>
                <a:gd name="T2" fmla="*/ 48 w 96"/>
                <a:gd name="T3" fmla="*/ 0 h 48"/>
                <a:gd name="T4" fmla="*/ 0 w 96"/>
                <a:gd name="T5" fmla="*/ 48 h 48"/>
                <a:gd name="T6" fmla="*/ 96 w 96"/>
                <a:gd name="T7" fmla="*/ 48 h 48"/>
              </a:gdLst>
              <a:ahLst/>
              <a:cxnLst>
                <a:cxn ang="0">
                  <a:pos x="T0" y="T1"/>
                </a:cxn>
                <a:cxn ang="0">
                  <a:pos x="T2" y="T3"/>
                </a:cxn>
                <a:cxn ang="0">
                  <a:pos x="T4" y="T5"/>
                </a:cxn>
                <a:cxn ang="0">
                  <a:pos x="T6" y="T7"/>
                </a:cxn>
              </a:cxnLst>
              <a:rect l="0" t="0" r="r" b="b"/>
              <a:pathLst>
                <a:path w="96" h="48">
                  <a:moveTo>
                    <a:pt x="96" y="48"/>
                  </a:moveTo>
                  <a:cubicBezTo>
                    <a:pt x="96" y="21"/>
                    <a:pt x="74" y="0"/>
                    <a:pt x="48" y="0"/>
                  </a:cubicBezTo>
                  <a:cubicBezTo>
                    <a:pt x="21" y="0"/>
                    <a:pt x="0" y="21"/>
                    <a:pt x="0" y="48"/>
                  </a:cubicBezTo>
                  <a:lnTo>
                    <a:pt x="96" y="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63" name="Oval 28">
              <a:extLst>
                <a:ext uri="{FF2B5EF4-FFF2-40B4-BE49-F238E27FC236}">
                  <a16:creationId xmlns:a16="http://schemas.microsoft.com/office/drawing/2014/main" id="{1C0EFE6A-0267-0548-A6F5-B256D26F213B}"/>
                </a:ext>
              </a:extLst>
            </p:cNvPr>
            <p:cNvSpPr>
              <a:spLocks noChangeArrowheads="1"/>
            </p:cNvSpPr>
            <p:nvPr/>
          </p:nvSpPr>
          <p:spPr bwMode="auto">
            <a:xfrm>
              <a:off x="4900" y="704"/>
              <a:ext cx="26" cy="2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sp>
          <p:nvSpPr>
            <p:cNvPr id="65" name="Freeform 29">
              <a:extLst>
                <a:ext uri="{FF2B5EF4-FFF2-40B4-BE49-F238E27FC236}">
                  <a16:creationId xmlns:a16="http://schemas.microsoft.com/office/drawing/2014/main" id="{2D0B77AA-FAEA-524C-8E12-9AD044EADCC1}"/>
                </a:ext>
              </a:extLst>
            </p:cNvPr>
            <p:cNvSpPr>
              <a:spLocks/>
            </p:cNvSpPr>
            <p:nvPr/>
          </p:nvSpPr>
          <p:spPr bwMode="auto">
            <a:xfrm>
              <a:off x="4921" y="783"/>
              <a:ext cx="50" cy="75"/>
            </a:xfrm>
            <a:custGeom>
              <a:avLst/>
              <a:gdLst>
                <a:gd name="T0" fmla="*/ 80 w 80"/>
                <a:gd name="T1" fmla="*/ 98 h 120"/>
                <a:gd name="T2" fmla="*/ 24 w 80"/>
                <a:gd name="T3" fmla="*/ 0 h 120"/>
                <a:gd name="T4" fmla="*/ 0 w 80"/>
                <a:gd name="T5" fmla="*/ 0 h 120"/>
                <a:gd name="T6" fmla="*/ 68 w 80"/>
                <a:gd name="T7" fmla="*/ 120 h 120"/>
                <a:gd name="T8" fmla="*/ 80 w 80"/>
                <a:gd name="T9" fmla="*/ 98 h 120"/>
              </a:gdLst>
              <a:ahLst/>
              <a:cxnLst>
                <a:cxn ang="0">
                  <a:pos x="T0" y="T1"/>
                </a:cxn>
                <a:cxn ang="0">
                  <a:pos x="T2" y="T3"/>
                </a:cxn>
                <a:cxn ang="0">
                  <a:pos x="T4" y="T5"/>
                </a:cxn>
                <a:cxn ang="0">
                  <a:pos x="T6" y="T7"/>
                </a:cxn>
                <a:cxn ang="0">
                  <a:pos x="T8" y="T9"/>
                </a:cxn>
              </a:cxnLst>
              <a:rect l="0" t="0" r="r" b="b"/>
              <a:pathLst>
                <a:path w="80" h="120">
                  <a:moveTo>
                    <a:pt x="80" y="98"/>
                  </a:moveTo>
                  <a:cubicBezTo>
                    <a:pt x="24" y="0"/>
                    <a:pt x="24" y="0"/>
                    <a:pt x="24" y="0"/>
                  </a:cubicBezTo>
                  <a:cubicBezTo>
                    <a:pt x="0" y="0"/>
                    <a:pt x="0" y="0"/>
                    <a:pt x="0" y="0"/>
                  </a:cubicBezTo>
                  <a:cubicBezTo>
                    <a:pt x="68" y="120"/>
                    <a:pt x="68" y="120"/>
                    <a:pt x="68" y="120"/>
                  </a:cubicBezTo>
                  <a:cubicBezTo>
                    <a:pt x="70" y="112"/>
                    <a:pt x="74" y="104"/>
                    <a:pt x="80"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a:solidFill>
                  <a:srgbClr val="505050"/>
                </a:solidFill>
                <a:latin typeface="Segoe UI"/>
                <a:ea typeface="+mn-ea"/>
                <a:cs typeface="+mn-cs"/>
              </a:endParaRPr>
            </a:p>
          </p:txBody>
        </p:sp>
      </p:grpSp>
      <p:sp>
        <p:nvSpPr>
          <p:cNvPr id="66" name="modern workplace">
            <a:extLst>
              <a:ext uri="{FF2B5EF4-FFF2-40B4-BE49-F238E27FC236}">
                <a16:creationId xmlns:a16="http://schemas.microsoft.com/office/drawing/2014/main" id="{05C53C5F-244F-8545-9170-1972567BC210}"/>
              </a:ext>
              <a:ext uri="{C183D7F6-B498-43B3-948B-1728B52AA6E4}">
                <adec:decorative xmlns:adec="http://schemas.microsoft.com/office/drawing/2017/decorative" val="1"/>
              </a:ext>
            </a:extLst>
          </p:cNvPr>
          <p:cNvSpPr txBox="1">
            <a:spLocks/>
          </p:cNvSpPr>
          <p:nvPr/>
        </p:nvSpPr>
        <p:spPr>
          <a:xfrm>
            <a:off x="3886806" y="1000239"/>
            <a:ext cx="854831" cy="297774"/>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defTabSz="699557">
              <a:lnSpc>
                <a:spcPct val="90000"/>
              </a:lnSpc>
              <a:defRPr/>
            </a:pPr>
            <a:r>
              <a:rPr lang="en-US" sz="900">
                <a:solidFill>
                  <a:prstClr val="white"/>
                </a:solidFill>
                <a:latin typeface="Segoe UI Semibold"/>
              </a:rPr>
              <a:t>Modern Workplace</a:t>
            </a:r>
          </a:p>
        </p:txBody>
      </p:sp>
      <p:sp>
        <p:nvSpPr>
          <p:cNvPr id="84" name="microsoft 365 1">
            <a:extLst>
              <a:ext uri="{FF2B5EF4-FFF2-40B4-BE49-F238E27FC236}">
                <a16:creationId xmlns:a16="http://schemas.microsoft.com/office/drawing/2014/main" id="{304D37A4-9FDC-4A10-9A37-0D784C586DBD}"/>
              </a:ext>
            </a:extLst>
          </p:cNvPr>
          <p:cNvSpPr/>
          <p:nvPr/>
        </p:nvSpPr>
        <p:spPr>
          <a:xfrm>
            <a:off x="3422437" y="1493993"/>
            <a:ext cx="1207499" cy="2484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Enterprise Administrator</a:t>
            </a:r>
          </a:p>
        </p:txBody>
      </p:sp>
      <p:grpSp>
        <p:nvGrpSpPr>
          <p:cNvPr id="67" name="icon 4" descr="Icon of a graph with one upward sloping arrow, and three smaller triangles on the base of the graph">
            <a:extLst>
              <a:ext uri="{FF2B5EF4-FFF2-40B4-BE49-F238E27FC236}">
                <a16:creationId xmlns:a16="http://schemas.microsoft.com/office/drawing/2014/main" id="{7228D456-C06E-1A43-8D89-BC120C9223DD}"/>
              </a:ext>
              <a:ext uri="{C183D7F6-B498-43B3-948B-1728B52AA6E4}">
                <adec:decorative xmlns:adec="http://schemas.microsoft.com/office/drawing/2017/decorative" val="1"/>
              </a:ext>
            </a:extLst>
          </p:cNvPr>
          <p:cNvGrpSpPr>
            <a:grpSpLocks noChangeAspect="1"/>
          </p:cNvGrpSpPr>
          <p:nvPr/>
        </p:nvGrpSpPr>
        <p:grpSpPr bwMode="auto">
          <a:xfrm>
            <a:off x="5316709" y="1003075"/>
            <a:ext cx="254834" cy="251153"/>
            <a:chOff x="5999" y="581"/>
            <a:chExt cx="363" cy="365"/>
          </a:xfrm>
        </p:grpSpPr>
        <p:sp>
          <p:nvSpPr>
            <p:cNvPr id="69" name="AutoShape 13">
              <a:extLst>
                <a:ext uri="{FF2B5EF4-FFF2-40B4-BE49-F238E27FC236}">
                  <a16:creationId xmlns:a16="http://schemas.microsoft.com/office/drawing/2014/main" id="{FA1D47A3-A24F-AD49-BE6B-32136D19E1C3}"/>
                </a:ext>
              </a:extLst>
            </p:cNvPr>
            <p:cNvSpPr>
              <a:spLocks noChangeAspect="1" noChangeArrowheads="1" noTextEdit="1"/>
            </p:cNvSpPr>
            <p:nvPr/>
          </p:nvSpPr>
          <p:spPr bwMode="auto">
            <a:xfrm>
              <a:off x="5999" y="581"/>
              <a:ext cx="363"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505050"/>
                </a:solidFill>
                <a:latin typeface="Segoe UI"/>
                <a:ea typeface="+mn-ea"/>
                <a:cs typeface="+mn-cs"/>
              </a:endParaRPr>
            </a:p>
          </p:txBody>
        </p:sp>
        <p:sp>
          <p:nvSpPr>
            <p:cNvPr id="70" name="Freeform 15">
              <a:extLst>
                <a:ext uri="{FF2B5EF4-FFF2-40B4-BE49-F238E27FC236}">
                  <a16:creationId xmlns:a16="http://schemas.microsoft.com/office/drawing/2014/main" id="{3D0F016A-CC1D-5342-BD30-2D815C24464F}"/>
                </a:ext>
              </a:extLst>
            </p:cNvPr>
            <p:cNvSpPr>
              <a:spLocks/>
            </p:cNvSpPr>
            <p:nvPr/>
          </p:nvSpPr>
          <p:spPr bwMode="auto">
            <a:xfrm>
              <a:off x="6086" y="695"/>
              <a:ext cx="205" cy="229"/>
            </a:xfrm>
            <a:custGeom>
              <a:avLst/>
              <a:gdLst>
                <a:gd name="T0" fmla="*/ 23 w 205"/>
                <a:gd name="T1" fmla="*/ 229 h 229"/>
                <a:gd name="T2" fmla="*/ 0 w 205"/>
                <a:gd name="T3" fmla="*/ 229 h 229"/>
                <a:gd name="T4" fmla="*/ 100 w 205"/>
                <a:gd name="T5" fmla="*/ 0 h 229"/>
                <a:gd name="T6" fmla="*/ 205 w 205"/>
                <a:gd name="T7" fmla="*/ 229 h 229"/>
                <a:gd name="T8" fmla="*/ 181 w 205"/>
                <a:gd name="T9" fmla="*/ 229 h 229"/>
                <a:gd name="T10" fmla="*/ 100 w 205"/>
                <a:gd name="T11" fmla="*/ 57 h 229"/>
                <a:gd name="T12" fmla="*/ 23 w 205"/>
                <a:gd name="T13" fmla="*/ 229 h 229"/>
              </a:gdLst>
              <a:ahLst/>
              <a:cxnLst>
                <a:cxn ang="0">
                  <a:pos x="T0" y="T1"/>
                </a:cxn>
                <a:cxn ang="0">
                  <a:pos x="T2" y="T3"/>
                </a:cxn>
                <a:cxn ang="0">
                  <a:pos x="T4" y="T5"/>
                </a:cxn>
                <a:cxn ang="0">
                  <a:pos x="T6" y="T7"/>
                </a:cxn>
                <a:cxn ang="0">
                  <a:pos x="T8" y="T9"/>
                </a:cxn>
                <a:cxn ang="0">
                  <a:pos x="T10" y="T11"/>
                </a:cxn>
                <a:cxn ang="0">
                  <a:pos x="T12" y="T13"/>
                </a:cxn>
              </a:cxnLst>
              <a:rect l="0" t="0" r="r" b="b"/>
              <a:pathLst>
                <a:path w="205" h="229">
                  <a:moveTo>
                    <a:pt x="23" y="229"/>
                  </a:moveTo>
                  <a:lnTo>
                    <a:pt x="0" y="229"/>
                  </a:lnTo>
                  <a:lnTo>
                    <a:pt x="100" y="0"/>
                  </a:lnTo>
                  <a:lnTo>
                    <a:pt x="205" y="229"/>
                  </a:lnTo>
                  <a:lnTo>
                    <a:pt x="181" y="229"/>
                  </a:lnTo>
                  <a:lnTo>
                    <a:pt x="100" y="57"/>
                  </a:lnTo>
                  <a:lnTo>
                    <a:pt x="23" y="2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505050"/>
                </a:solidFill>
                <a:latin typeface="Segoe UI"/>
                <a:ea typeface="+mn-ea"/>
                <a:cs typeface="+mn-cs"/>
              </a:endParaRPr>
            </a:p>
          </p:txBody>
        </p:sp>
        <p:sp>
          <p:nvSpPr>
            <p:cNvPr id="72" name="Freeform 16">
              <a:extLst>
                <a:ext uri="{FF2B5EF4-FFF2-40B4-BE49-F238E27FC236}">
                  <a16:creationId xmlns:a16="http://schemas.microsoft.com/office/drawing/2014/main" id="{504336DC-6B8F-7243-83C2-5C471B883421}"/>
                </a:ext>
              </a:extLst>
            </p:cNvPr>
            <p:cNvSpPr>
              <a:spLocks noEditPoints="1"/>
            </p:cNvSpPr>
            <p:nvPr/>
          </p:nvSpPr>
          <p:spPr bwMode="auto">
            <a:xfrm>
              <a:off x="5999" y="670"/>
              <a:ext cx="363" cy="276"/>
            </a:xfrm>
            <a:custGeom>
              <a:avLst/>
              <a:gdLst>
                <a:gd name="T0" fmla="*/ 363 w 363"/>
                <a:gd name="T1" fmla="*/ 276 h 276"/>
                <a:gd name="T2" fmla="*/ 0 w 363"/>
                <a:gd name="T3" fmla="*/ 276 h 276"/>
                <a:gd name="T4" fmla="*/ 96 w 363"/>
                <a:gd name="T5" fmla="*/ 136 h 276"/>
                <a:gd name="T6" fmla="*/ 171 w 363"/>
                <a:gd name="T7" fmla="*/ 254 h 276"/>
                <a:gd name="T8" fmla="*/ 195 w 363"/>
                <a:gd name="T9" fmla="*/ 254 h 276"/>
                <a:gd name="T10" fmla="*/ 363 w 363"/>
                <a:gd name="T11" fmla="*/ 0 h 276"/>
                <a:gd name="T12" fmla="*/ 363 w 363"/>
                <a:gd name="T13" fmla="*/ 276 h 276"/>
                <a:gd name="T14" fmla="*/ 221 w 363"/>
                <a:gd name="T15" fmla="*/ 254 h 276"/>
                <a:gd name="T16" fmla="*/ 341 w 363"/>
                <a:gd name="T17" fmla="*/ 254 h 276"/>
                <a:gd name="T18" fmla="*/ 341 w 363"/>
                <a:gd name="T19" fmla="*/ 75 h 276"/>
                <a:gd name="T20" fmla="*/ 221 w 363"/>
                <a:gd name="T21" fmla="*/ 254 h 276"/>
                <a:gd name="T22" fmla="*/ 42 w 363"/>
                <a:gd name="T23" fmla="*/ 254 h 276"/>
                <a:gd name="T24" fmla="*/ 145 w 363"/>
                <a:gd name="T25" fmla="*/ 254 h 276"/>
                <a:gd name="T26" fmla="*/ 96 w 363"/>
                <a:gd name="T27" fmla="*/ 178 h 276"/>
                <a:gd name="T28" fmla="*/ 42 w 363"/>
                <a:gd name="T29" fmla="*/ 2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3" h="276">
                  <a:moveTo>
                    <a:pt x="363" y="276"/>
                  </a:moveTo>
                  <a:lnTo>
                    <a:pt x="0" y="276"/>
                  </a:lnTo>
                  <a:lnTo>
                    <a:pt x="96" y="136"/>
                  </a:lnTo>
                  <a:lnTo>
                    <a:pt x="171" y="254"/>
                  </a:lnTo>
                  <a:lnTo>
                    <a:pt x="195" y="254"/>
                  </a:lnTo>
                  <a:lnTo>
                    <a:pt x="363" y="0"/>
                  </a:lnTo>
                  <a:lnTo>
                    <a:pt x="363" y="276"/>
                  </a:lnTo>
                  <a:close/>
                  <a:moveTo>
                    <a:pt x="221" y="254"/>
                  </a:moveTo>
                  <a:lnTo>
                    <a:pt x="341" y="254"/>
                  </a:lnTo>
                  <a:lnTo>
                    <a:pt x="341" y="75"/>
                  </a:lnTo>
                  <a:lnTo>
                    <a:pt x="221" y="254"/>
                  </a:lnTo>
                  <a:close/>
                  <a:moveTo>
                    <a:pt x="42" y="254"/>
                  </a:moveTo>
                  <a:lnTo>
                    <a:pt x="145" y="254"/>
                  </a:lnTo>
                  <a:lnTo>
                    <a:pt x="96" y="178"/>
                  </a:lnTo>
                  <a:lnTo>
                    <a:pt x="42" y="2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505050"/>
                </a:solidFill>
                <a:latin typeface="Segoe UI"/>
                <a:ea typeface="+mn-ea"/>
                <a:cs typeface="+mn-cs"/>
              </a:endParaRPr>
            </a:p>
          </p:txBody>
        </p:sp>
        <p:sp>
          <p:nvSpPr>
            <p:cNvPr id="74" name="Freeform 17">
              <a:extLst>
                <a:ext uri="{FF2B5EF4-FFF2-40B4-BE49-F238E27FC236}">
                  <a16:creationId xmlns:a16="http://schemas.microsoft.com/office/drawing/2014/main" id="{D04EE969-6D17-E841-9205-D717D223F2D8}"/>
                </a:ext>
              </a:extLst>
            </p:cNvPr>
            <p:cNvSpPr>
              <a:spLocks/>
            </p:cNvSpPr>
            <p:nvPr/>
          </p:nvSpPr>
          <p:spPr bwMode="auto">
            <a:xfrm>
              <a:off x="6085" y="581"/>
              <a:ext cx="277" cy="343"/>
            </a:xfrm>
            <a:custGeom>
              <a:avLst/>
              <a:gdLst>
                <a:gd name="T0" fmla="*/ 209 w 277"/>
                <a:gd name="T1" fmla="*/ 0 h 343"/>
                <a:gd name="T2" fmla="*/ 209 w 277"/>
                <a:gd name="T3" fmla="*/ 23 h 343"/>
                <a:gd name="T4" fmla="*/ 237 w 277"/>
                <a:gd name="T5" fmla="*/ 23 h 343"/>
                <a:gd name="T6" fmla="*/ 0 w 277"/>
                <a:gd name="T7" fmla="*/ 343 h 343"/>
                <a:gd name="T8" fmla="*/ 28 w 277"/>
                <a:gd name="T9" fmla="*/ 343 h 343"/>
                <a:gd name="T10" fmla="*/ 255 w 277"/>
                <a:gd name="T11" fmla="*/ 42 h 343"/>
                <a:gd name="T12" fmla="*/ 255 w 277"/>
                <a:gd name="T13" fmla="*/ 69 h 343"/>
                <a:gd name="T14" fmla="*/ 277 w 277"/>
                <a:gd name="T15" fmla="*/ 69 h 343"/>
                <a:gd name="T16" fmla="*/ 277 w 277"/>
                <a:gd name="T17" fmla="*/ 0 h 343"/>
                <a:gd name="T18" fmla="*/ 209 w 277"/>
                <a:gd name="T1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 h="343">
                  <a:moveTo>
                    <a:pt x="209" y="0"/>
                  </a:moveTo>
                  <a:lnTo>
                    <a:pt x="209" y="23"/>
                  </a:lnTo>
                  <a:lnTo>
                    <a:pt x="237" y="23"/>
                  </a:lnTo>
                  <a:lnTo>
                    <a:pt x="0" y="343"/>
                  </a:lnTo>
                  <a:lnTo>
                    <a:pt x="28" y="343"/>
                  </a:lnTo>
                  <a:lnTo>
                    <a:pt x="255" y="42"/>
                  </a:lnTo>
                  <a:lnTo>
                    <a:pt x="255" y="69"/>
                  </a:lnTo>
                  <a:lnTo>
                    <a:pt x="277" y="69"/>
                  </a:lnTo>
                  <a:lnTo>
                    <a:pt x="277" y="0"/>
                  </a:lnTo>
                  <a:lnTo>
                    <a:pt x="20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hangingPunct="1">
                <a:defRPr/>
              </a:pPr>
              <a:endParaRPr lang="en-US" sz="1350" kern="1200">
                <a:solidFill>
                  <a:srgbClr val="505050"/>
                </a:solidFill>
                <a:latin typeface="Segoe UI"/>
                <a:ea typeface="+mn-ea"/>
                <a:cs typeface="+mn-cs"/>
              </a:endParaRPr>
            </a:p>
          </p:txBody>
        </p:sp>
      </p:grpSp>
      <p:sp>
        <p:nvSpPr>
          <p:cNvPr id="75" name="business apps">
            <a:extLst>
              <a:ext uri="{FF2B5EF4-FFF2-40B4-BE49-F238E27FC236}">
                <a16:creationId xmlns:a16="http://schemas.microsoft.com/office/drawing/2014/main" id="{3BE330AF-DF80-C44F-A832-DDD017F77C05}"/>
              </a:ext>
              <a:ext uri="{C183D7F6-B498-43B3-948B-1728B52AA6E4}">
                <adec:decorative xmlns:adec="http://schemas.microsoft.com/office/drawing/2017/decorative" val="1"/>
              </a:ext>
            </a:extLst>
          </p:cNvPr>
          <p:cNvSpPr txBox="1">
            <a:spLocks/>
          </p:cNvSpPr>
          <p:nvPr/>
        </p:nvSpPr>
        <p:spPr>
          <a:xfrm>
            <a:off x="5657721" y="1063444"/>
            <a:ext cx="1299316" cy="173124"/>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defTabSz="699557">
              <a:lnSpc>
                <a:spcPct val="90000"/>
              </a:lnSpc>
              <a:defRPr/>
            </a:pPr>
            <a:r>
              <a:rPr lang="en-US" sz="900">
                <a:solidFill>
                  <a:prstClr val="white"/>
                </a:solidFill>
                <a:latin typeface="Segoe UI Semibold"/>
              </a:rPr>
              <a:t>Business Applications</a:t>
            </a:r>
          </a:p>
        </p:txBody>
      </p:sp>
      <p:sp>
        <p:nvSpPr>
          <p:cNvPr id="78" name="power apps">
            <a:extLst>
              <a:ext uri="{FF2B5EF4-FFF2-40B4-BE49-F238E27FC236}">
                <a16:creationId xmlns:a16="http://schemas.microsoft.com/office/drawing/2014/main" id="{D71E58B4-72AE-42DF-BA05-0C84E89DEC56}"/>
              </a:ext>
            </a:extLst>
          </p:cNvPr>
          <p:cNvSpPr/>
          <p:nvPr/>
        </p:nvSpPr>
        <p:spPr>
          <a:xfrm>
            <a:off x="4763941" y="1493434"/>
            <a:ext cx="2672703" cy="2484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Power Apps + Dynamics 365 Solution Architect*</a:t>
            </a:r>
          </a:p>
        </p:txBody>
      </p:sp>
      <p:sp>
        <p:nvSpPr>
          <p:cNvPr id="77" name="Dynamic 365">
            <a:extLst>
              <a:ext uri="{FF2B5EF4-FFF2-40B4-BE49-F238E27FC236}">
                <a16:creationId xmlns:a16="http://schemas.microsoft.com/office/drawing/2014/main" id="{9E8D4928-50A0-4057-B045-1ACCB2E7FBD5}"/>
              </a:ext>
            </a:extLst>
          </p:cNvPr>
          <p:cNvSpPr/>
          <p:nvPr/>
        </p:nvSpPr>
        <p:spPr>
          <a:xfrm>
            <a:off x="4763941" y="1800452"/>
            <a:ext cx="2667456" cy="24550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Finance and Operations Apps Solution Architect*</a:t>
            </a:r>
          </a:p>
        </p:txBody>
      </p:sp>
      <p:sp>
        <p:nvSpPr>
          <p:cNvPr id="152" name="Associate">
            <a:extLst>
              <a:ext uri="{FF2B5EF4-FFF2-40B4-BE49-F238E27FC236}">
                <a16:creationId xmlns:a16="http://schemas.microsoft.com/office/drawing/2014/main" id="{131BEF03-48D7-4DBB-8018-94AD141547EF}"/>
              </a:ext>
            </a:extLst>
          </p:cNvPr>
          <p:cNvSpPr/>
          <p:nvPr/>
        </p:nvSpPr>
        <p:spPr bwMode="auto">
          <a:xfrm>
            <a:off x="400175" y="2398309"/>
            <a:ext cx="640260" cy="207749"/>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r" defTabSz="685775">
              <a:defRPr/>
            </a:pPr>
            <a:r>
              <a:rPr lang="en-US" sz="900">
                <a:solidFill>
                  <a:prstClr val="black">
                    <a:lumMod val="95000"/>
                    <a:lumOff val="5000"/>
                  </a:prstClr>
                </a:solidFill>
                <a:latin typeface="Segoe UI Semibold" panose="020B0702040204020203" pitchFamily="34" charset="0"/>
                <a:cs typeface="Segoe UI Semibold" panose="020B0702040204020203" pitchFamily="34" charset="0"/>
              </a:rPr>
              <a:t>Associate</a:t>
            </a:r>
          </a:p>
        </p:txBody>
      </p:sp>
      <p:sp>
        <p:nvSpPr>
          <p:cNvPr id="8" name="Asure 2 -1">
            <a:extLst>
              <a:ext uri="{FF2B5EF4-FFF2-40B4-BE49-F238E27FC236}">
                <a16:creationId xmlns:a16="http://schemas.microsoft.com/office/drawing/2014/main" id="{67CD321E-30B7-45CD-A303-B2AE6D909F27}"/>
              </a:ext>
            </a:extLst>
          </p:cNvPr>
          <p:cNvSpPr/>
          <p:nvPr/>
        </p:nvSpPr>
        <p:spPr>
          <a:xfrm>
            <a:off x="1086485" y="2381533"/>
            <a:ext cx="1030188" cy="2468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Administrator^</a:t>
            </a:r>
          </a:p>
        </p:txBody>
      </p:sp>
      <p:sp>
        <p:nvSpPr>
          <p:cNvPr id="103" name="azure 2 - 2">
            <a:extLst>
              <a:ext uri="{FF2B5EF4-FFF2-40B4-BE49-F238E27FC236}">
                <a16:creationId xmlns:a16="http://schemas.microsoft.com/office/drawing/2014/main" id="{AA9DF8DC-FA29-40A1-B442-DB3472779A8D}"/>
              </a:ext>
            </a:extLst>
          </p:cNvPr>
          <p:cNvSpPr/>
          <p:nvPr/>
        </p:nvSpPr>
        <p:spPr>
          <a:xfrm>
            <a:off x="1086485" y="2674313"/>
            <a:ext cx="1030187" cy="22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Developer*</a:t>
            </a:r>
          </a:p>
        </p:txBody>
      </p:sp>
      <p:sp>
        <p:nvSpPr>
          <p:cNvPr id="104" name="Asure 2 - 3">
            <a:extLst>
              <a:ext uri="{FF2B5EF4-FFF2-40B4-BE49-F238E27FC236}">
                <a16:creationId xmlns:a16="http://schemas.microsoft.com/office/drawing/2014/main" id="{781639A0-839E-42D7-8129-5EF3CB99A9FD}"/>
              </a:ext>
            </a:extLst>
          </p:cNvPr>
          <p:cNvSpPr/>
          <p:nvPr/>
        </p:nvSpPr>
        <p:spPr>
          <a:xfrm>
            <a:off x="1086484" y="2947793"/>
            <a:ext cx="1030186" cy="22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Security Engineer</a:t>
            </a:r>
          </a:p>
        </p:txBody>
      </p:sp>
      <p:sp>
        <p:nvSpPr>
          <p:cNvPr id="105" name="Azure 2 - 4">
            <a:extLst>
              <a:ext uri="{FF2B5EF4-FFF2-40B4-BE49-F238E27FC236}">
                <a16:creationId xmlns:a16="http://schemas.microsoft.com/office/drawing/2014/main" id="{5D1668CD-0792-4E74-84DE-4CDC3C9D30F5}"/>
              </a:ext>
            </a:extLst>
          </p:cNvPr>
          <p:cNvSpPr/>
          <p:nvPr/>
        </p:nvSpPr>
        <p:spPr>
          <a:xfrm>
            <a:off x="2232454" y="2381533"/>
            <a:ext cx="1047298" cy="2468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Data Scientist</a:t>
            </a:r>
          </a:p>
        </p:txBody>
      </p:sp>
      <p:sp>
        <p:nvSpPr>
          <p:cNvPr id="106" name="Azure 2 - 5">
            <a:extLst>
              <a:ext uri="{FF2B5EF4-FFF2-40B4-BE49-F238E27FC236}">
                <a16:creationId xmlns:a16="http://schemas.microsoft.com/office/drawing/2014/main" id="{188D415D-E708-4555-B56C-3B9064C0AEEE}"/>
              </a:ext>
            </a:extLst>
          </p:cNvPr>
          <p:cNvSpPr/>
          <p:nvPr/>
        </p:nvSpPr>
        <p:spPr>
          <a:xfrm>
            <a:off x="2232454" y="2668960"/>
            <a:ext cx="1053614" cy="2240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AI Engineer</a:t>
            </a:r>
          </a:p>
        </p:txBody>
      </p:sp>
      <p:sp>
        <p:nvSpPr>
          <p:cNvPr id="107" name="Azure 2 - 6">
            <a:extLst>
              <a:ext uri="{FF2B5EF4-FFF2-40B4-BE49-F238E27FC236}">
                <a16:creationId xmlns:a16="http://schemas.microsoft.com/office/drawing/2014/main" id="{71CB4B1F-B276-4108-AD3C-ADD2FAACA16B}"/>
              </a:ext>
            </a:extLst>
          </p:cNvPr>
          <p:cNvSpPr/>
          <p:nvPr/>
        </p:nvSpPr>
        <p:spPr>
          <a:xfrm>
            <a:off x="2232454" y="2933515"/>
            <a:ext cx="1052120" cy="22520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Data Engineer</a:t>
            </a:r>
          </a:p>
        </p:txBody>
      </p:sp>
      <p:sp>
        <p:nvSpPr>
          <p:cNvPr id="86" name="m365 2 - 1">
            <a:extLst>
              <a:ext uri="{FF2B5EF4-FFF2-40B4-BE49-F238E27FC236}">
                <a16:creationId xmlns:a16="http://schemas.microsoft.com/office/drawing/2014/main" id="{7387CA0F-5E32-498D-AAA8-B9C57AD0CD2F}"/>
              </a:ext>
            </a:extLst>
          </p:cNvPr>
          <p:cNvSpPr/>
          <p:nvPr/>
        </p:nvSpPr>
        <p:spPr>
          <a:xfrm>
            <a:off x="3412267" y="2381534"/>
            <a:ext cx="1217669" cy="2468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Modern Desktop Administrator</a:t>
            </a:r>
          </a:p>
        </p:txBody>
      </p:sp>
      <p:sp>
        <p:nvSpPr>
          <p:cNvPr id="87" name="m365 2 - 2">
            <a:extLst>
              <a:ext uri="{FF2B5EF4-FFF2-40B4-BE49-F238E27FC236}">
                <a16:creationId xmlns:a16="http://schemas.microsoft.com/office/drawing/2014/main" id="{0DD70C33-0C83-4B55-9C26-C5D8EB73D955}"/>
              </a:ext>
            </a:extLst>
          </p:cNvPr>
          <p:cNvSpPr/>
          <p:nvPr/>
        </p:nvSpPr>
        <p:spPr>
          <a:xfrm>
            <a:off x="3411858" y="2685466"/>
            <a:ext cx="1218079" cy="2468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Teamwork Administrator</a:t>
            </a:r>
          </a:p>
        </p:txBody>
      </p:sp>
      <p:sp>
        <p:nvSpPr>
          <p:cNvPr id="88" name="m365 2 - 3">
            <a:extLst>
              <a:ext uri="{FF2B5EF4-FFF2-40B4-BE49-F238E27FC236}">
                <a16:creationId xmlns:a16="http://schemas.microsoft.com/office/drawing/2014/main" id="{B68CCD21-8D31-4BF4-A714-D5D8EDCEA327}"/>
              </a:ext>
            </a:extLst>
          </p:cNvPr>
          <p:cNvSpPr/>
          <p:nvPr/>
        </p:nvSpPr>
        <p:spPr>
          <a:xfrm>
            <a:off x="3411858" y="2987112"/>
            <a:ext cx="1218077" cy="2445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Messaging Administrator</a:t>
            </a:r>
          </a:p>
        </p:txBody>
      </p:sp>
      <p:sp>
        <p:nvSpPr>
          <p:cNvPr id="89" name="m365 2 - 4">
            <a:extLst>
              <a:ext uri="{FF2B5EF4-FFF2-40B4-BE49-F238E27FC236}">
                <a16:creationId xmlns:a16="http://schemas.microsoft.com/office/drawing/2014/main" id="{AFB2A6C9-C493-4BB4-BD49-949B15BA4738}"/>
              </a:ext>
            </a:extLst>
          </p:cNvPr>
          <p:cNvSpPr/>
          <p:nvPr/>
        </p:nvSpPr>
        <p:spPr>
          <a:xfrm>
            <a:off x="3411859" y="3281404"/>
            <a:ext cx="1218077" cy="2468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Security Administrator</a:t>
            </a:r>
          </a:p>
        </p:txBody>
      </p:sp>
      <p:sp>
        <p:nvSpPr>
          <p:cNvPr id="91" name="M365 2 - 5">
            <a:extLst>
              <a:ext uri="{FF2B5EF4-FFF2-40B4-BE49-F238E27FC236}">
                <a16:creationId xmlns:a16="http://schemas.microsoft.com/office/drawing/2014/main" id="{F55A6D52-4433-4798-80D9-26463A3D615B}"/>
              </a:ext>
            </a:extLst>
          </p:cNvPr>
          <p:cNvSpPr/>
          <p:nvPr/>
        </p:nvSpPr>
        <p:spPr>
          <a:xfrm>
            <a:off x="3411858" y="3577681"/>
            <a:ext cx="1218077" cy="2468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Teams Administrator</a:t>
            </a:r>
          </a:p>
        </p:txBody>
      </p:sp>
      <p:sp>
        <p:nvSpPr>
          <p:cNvPr id="92" name="m365 2 - 6">
            <a:extLst>
              <a:ext uri="{FF2B5EF4-FFF2-40B4-BE49-F238E27FC236}">
                <a16:creationId xmlns:a16="http://schemas.microsoft.com/office/drawing/2014/main" id="{B05E7004-BE66-4862-AE35-2F881816C0A3}"/>
              </a:ext>
            </a:extLst>
          </p:cNvPr>
          <p:cNvSpPr/>
          <p:nvPr/>
        </p:nvSpPr>
        <p:spPr>
          <a:xfrm>
            <a:off x="3410137" y="3870421"/>
            <a:ext cx="1219799" cy="243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white"/>
                </a:solidFill>
                <a:latin typeface="Segoe UI"/>
                <a:cs typeface="Segoe UI"/>
              </a:rPr>
              <a:t>Microsoft 365 Developer</a:t>
            </a:r>
          </a:p>
        </p:txBody>
      </p:sp>
      <p:sp>
        <p:nvSpPr>
          <p:cNvPr id="90" name="Dynam 2 - 1">
            <a:extLst>
              <a:ext uri="{FF2B5EF4-FFF2-40B4-BE49-F238E27FC236}">
                <a16:creationId xmlns:a16="http://schemas.microsoft.com/office/drawing/2014/main" id="{8CF067A0-74F0-47AE-9079-56678B7AAF9B}"/>
              </a:ext>
            </a:extLst>
          </p:cNvPr>
          <p:cNvSpPr/>
          <p:nvPr/>
        </p:nvSpPr>
        <p:spPr>
          <a:xfrm>
            <a:off x="4761811" y="2381534"/>
            <a:ext cx="1285235" cy="2472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Sales Functional Consultant</a:t>
            </a:r>
          </a:p>
        </p:txBody>
      </p:sp>
      <p:sp>
        <p:nvSpPr>
          <p:cNvPr id="112" name="Dynam 2 - 2">
            <a:extLst>
              <a:ext uri="{FF2B5EF4-FFF2-40B4-BE49-F238E27FC236}">
                <a16:creationId xmlns:a16="http://schemas.microsoft.com/office/drawing/2014/main" id="{D146FA0B-F9F0-4850-98D0-F0B3248BDBA4}"/>
              </a:ext>
            </a:extLst>
          </p:cNvPr>
          <p:cNvSpPr/>
          <p:nvPr/>
        </p:nvSpPr>
        <p:spPr>
          <a:xfrm>
            <a:off x="4761812" y="2682903"/>
            <a:ext cx="1281993" cy="2472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Marketing Functional Consultant</a:t>
            </a:r>
          </a:p>
        </p:txBody>
      </p:sp>
      <p:sp>
        <p:nvSpPr>
          <p:cNvPr id="111" name="Dynam 2 - 3">
            <a:extLst>
              <a:ext uri="{FF2B5EF4-FFF2-40B4-BE49-F238E27FC236}">
                <a16:creationId xmlns:a16="http://schemas.microsoft.com/office/drawing/2014/main" id="{2AED900B-223C-4D19-8CF7-E82227B5F7E4}"/>
              </a:ext>
            </a:extLst>
          </p:cNvPr>
          <p:cNvSpPr/>
          <p:nvPr/>
        </p:nvSpPr>
        <p:spPr>
          <a:xfrm>
            <a:off x="6105506" y="2381534"/>
            <a:ext cx="1325891" cy="2482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Customer Service Functional Consultant</a:t>
            </a:r>
          </a:p>
        </p:txBody>
      </p:sp>
      <p:sp>
        <p:nvSpPr>
          <p:cNvPr id="114" name="Dynam 2 - 4">
            <a:extLst>
              <a:ext uri="{FF2B5EF4-FFF2-40B4-BE49-F238E27FC236}">
                <a16:creationId xmlns:a16="http://schemas.microsoft.com/office/drawing/2014/main" id="{2E733C7D-5EDC-43B2-A967-84A0D19FF1AB}"/>
              </a:ext>
            </a:extLst>
          </p:cNvPr>
          <p:cNvSpPr/>
          <p:nvPr/>
        </p:nvSpPr>
        <p:spPr>
          <a:xfrm>
            <a:off x="6103885" y="2679892"/>
            <a:ext cx="1325891" cy="2484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Field Service Functional Consultant</a:t>
            </a:r>
          </a:p>
        </p:txBody>
      </p:sp>
      <p:sp>
        <p:nvSpPr>
          <p:cNvPr id="108" name="Dynam 2 - 5">
            <a:extLst>
              <a:ext uri="{FF2B5EF4-FFF2-40B4-BE49-F238E27FC236}">
                <a16:creationId xmlns:a16="http://schemas.microsoft.com/office/drawing/2014/main" id="{10B0BDA9-F94B-420A-A6A5-649A6D24D8A7}"/>
              </a:ext>
            </a:extLst>
          </p:cNvPr>
          <p:cNvSpPr/>
          <p:nvPr/>
        </p:nvSpPr>
        <p:spPr>
          <a:xfrm>
            <a:off x="4768606" y="2985101"/>
            <a:ext cx="2661170" cy="2011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Finance Functional Consultant</a:t>
            </a:r>
          </a:p>
        </p:txBody>
      </p:sp>
      <p:sp>
        <p:nvSpPr>
          <p:cNvPr id="115" name="Dyman 2 - 6">
            <a:extLst>
              <a:ext uri="{FF2B5EF4-FFF2-40B4-BE49-F238E27FC236}">
                <a16:creationId xmlns:a16="http://schemas.microsoft.com/office/drawing/2014/main" id="{BC8BB26C-6FB2-48A1-A3E5-97FB736ED937}"/>
              </a:ext>
            </a:extLst>
          </p:cNvPr>
          <p:cNvSpPr/>
          <p:nvPr/>
        </p:nvSpPr>
        <p:spPr>
          <a:xfrm>
            <a:off x="4761811" y="3232013"/>
            <a:ext cx="2667964" cy="2024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Supply Chain Management, Manufacturing Functional Consultant</a:t>
            </a:r>
          </a:p>
        </p:txBody>
      </p:sp>
      <p:sp>
        <p:nvSpPr>
          <p:cNvPr id="116" name="Dynam 2 - 7">
            <a:extLst>
              <a:ext uri="{FF2B5EF4-FFF2-40B4-BE49-F238E27FC236}">
                <a16:creationId xmlns:a16="http://schemas.microsoft.com/office/drawing/2014/main" id="{F74F10D9-2179-4A19-A21B-F25E7BC65897}"/>
              </a:ext>
            </a:extLst>
          </p:cNvPr>
          <p:cNvSpPr/>
          <p:nvPr/>
        </p:nvSpPr>
        <p:spPr>
          <a:xfrm>
            <a:off x="4761812" y="3483688"/>
            <a:ext cx="2655900" cy="2011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Supply Chain Management Functional Consultant</a:t>
            </a:r>
          </a:p>
        </p:txBody>
      </p:sp>
      <p:sp>
        <p:nvSpPr>
          <p:cNvPr id="79" name="Dynam 2 - 8">
            <a:extLst>
              <a:ext uri="{FF2B5EF4-FFF2-40B4-BE49-F238E27FC236}">
                <a16:creationId xmlns:a16="http://schemas.microsoft.com/office/drawing/2014/main" id="{3FB65606-255E-450E-B0BB-1D0A4D457CDA}"/>
              </a:ext>
            </a:extLst>
          </p:cNvPr>
          <p:cNvSpPr/>
          <p:nvPr/>
        </p:nvSpPr>
        <p:spPr>
          <a:xfrm>
            <a:off x="4761811" y="3741503"/>
            <a:ext cx="2643184" cy="2007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Power Apps + Dynamics 365 Developer</a:t>
            </a:r>
          </a:p>
        </p:txBody>
      </p:sp>
      <p:sp>
        <p:nvSpPr>
          <p:cNvPr id="81" name="Dyman 2 - 9">
            <a:extLst>
              <a:ext uri="{FF2B5EF4-FFF2-40B4-BE49-F238E27FC236}">
                <a16:creationId xmlns:a16="http://schemas.microsoft.com/office/drawing/2014/main" id="{9A0CB0A1-AEF9-450A-B161-141B0AF417DD}"/>
              </a:ext>
            </a:extLst>
          </p:cNvPr>
          <p:cNvSpPr/>
          <p:nvPr/>
        </p:nvSpPr>
        <p:spPr>
          <a:xfrm>
            <a:off x="4761811" y="3993926"/>
            <a:ext cx="2643184" cy="2007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ynamics 365: Finance and Operations Apps Developer*</a:t>
            </a:r>
          </a:p>
        </p:txBody>
      </p:sp>
      <p:sp>
        <p:nvSpPr>
          <p:cNvPr id="68" name="Fundamentals">
            <a:extLst>
              <a:ext uri="{FF2B5EF4-FFF2-40B4-BE49-F238E27FC236}">
                <a16:creationId xmlns:a16="http://schemas.microsoft.com/office/drawing/2014/main" id="{7937F702-20A1-4540-97C8-0EAC5D043565}"/>
              </a:ext>
            </a:extLst>
          </p:cNvPr>
          <p:cNvSpPr txBox="1">
            <a:spLocks/>
          </p:cNvSpPr>
          <p:nvPr/>
        </p:nvSpPr>
        <p:spPr>
          <a:xfrm>
            <a:off x="235066" y="4325832"/>
            <a:ext cx="940445" cy="631968"/>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defTabSz="699557">
              <a:lnSpc>
                <a:spcPct val="90000"/>
              </a:lnSpc>
              <a:spcAft>
                <a:spcPts val="450"/>
              </a:spcAft>
              <a:defRPr/>
            </a:pPr>
            <a:r>
              <a:rPr lang="en-US" sz="900" b="0">
                <a:solidFill>
                  <a:srgbClr val="000000"/>
                </a:solidFill>
                <a:latin typeface="Segoe UI Semibold" panose="020B0702040204020203" pitchFamily="34" charset="0"/>
                <a:cs typeface="Segoe UI Semibold" panose="020B0702040204020203" pitchFamily="34" charset="0"/>
              </a:rPr>
              <a:t>Fundamentals</a:t>
            </a:r>
            <a:r>
              <a:rPr lang="en-US" sz="900">
                <a:solidFill>
                  <a:prstClr val="black"/>
                </a:solidFill>
                <a:latin typeface="Segoe UI Semibold" panose="020B0702040204020203" pitchFamily="34" charset="0"/>
                <a:cs typeface="Segoe UI Semibold" panose="020B0702040204020203" pitchFamily="34" charset="0"/>
              </a:rPr>
              <a:t> </a:t>
            </a:r>
            <a:endParaRPr lang="en-US" sz="900">
              <a:solidFill>
                <a:prstClr val="white"/>
              </a:solidFill>
              <a:latin typeface="Segoe UI Semibold" panose="020B0702040204020203" pitchFamily="34" charset="0"/>
              <a:cs typeface="Segoe UI Semibold" panose="020B0702040204020203" pitchFamily="34" charset="0"/>
            </a:endParaRPr>
          </a:p>
          <a:p>
            <a:pPr defTabSz="699557">
              <a:lnSpc>
                <a:spcPct val="90000"/>
              </a:lnSpc>
              <a:defRPr/>
            </a:pPr>
            <a:r>
              <a:rPr lang="en-US" sz="675" b="0">
                <a:solidFill>
                  <a:srgbClr val="505050"/>
                </a:solidFill>
                <a:latin typeface="Segoe UI" panose="020B0502040204020203" pitchFamily="34" charset="0"/>
              </a:rPr>
              <a:t>Foundational understanding </a:t>
            </a:r>
            <a:br>
              <a:rPr lang="en-US" sz="675" b="0">
                <a:solidFill>
                  <a:srgbClr val="505050"/>
                </a:solidFill>
                <a:latin typeface="Segoe UI" panose="020B0502040204020203" pitchFamily="34" charset="0"/>
              </a:rPr>
            </a:br>
            <a:r>
              <a:rPr lang="en-US" sz="675" b="0">
                <a:solidFill>
                  <a:srgbClr val="505050"/>
                </a:solidFill>
                <a:latin typeface="Segoe UI" panose="020B0502040204020203" pitchFamily="34" charset="0"/>
              </a:rPr>
              <a:t>of technology</a:t>
            </a:r>
          </a:p>
          <a:p>
            <a:pPr defTabSz="699557">
              <a:lnSpc>
                <a:spcPct val="90000"/>
              </a:lnSpc>
              <a:defRPr/>
            </a:pPr>
            <a:endParaRPr lang="en-US" sz="825">
              <a:solidFill>
                <a:prstClr val="white"/>
              </a:solidFill>
              <a:latin typeface="Segoe UI Semibold"/>
            </a:endParaRPr>
          </a:p>
        </p:txBody>
      </p:sp>
      <p:cxnSp>
        <p:nvCxnSpPr>
          <p:cNvPr id="64" name="Straight Connector 63">
            <a:extLst>
              <a:ext uri="{FF2B5EF4-FFF2-40B4-BE49-F238E27FC236}">
                <a16:creationId xmlns:a16="http://schemas.microsoft.com/office/drawing/2014/main" id="{E8FA5A1D-FC53-44D8-B10F-6CC25419F0F7}"/>
              </a:ext>
              <a:ext uri="{C183D7F6-B498-43B3-948B-1728B52AA6E4}">
                <adec:decorative xmlns:adec="http://schemas.microsoft.com/office/drawing/2017/decorative" val="1"/>
              </a:ext>
            </a:extLst>
          </p:cNvPr>
          <p:cNvCxnSpPr>
            <a:cxnSpLocks/>
            <a:endCxn id="13" idx="2"/>
          </p:cNvCxnSpPr>
          <p:nvPr/>
        </p:nvCxnSpPr>
        <p:spPr>
          <a:xfrm>
            <a:off x="2186139" y="1397869"/>
            <a:ext cx="2473" cy="2858642"/>
          </a:xfrm>
          <a:prstGeom prst="line">
            <a:avLst/>
          </a:prstGeom>
          <a:ln w="285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17" name="Azure 3 -1">
            <a:extLst>
              <a:ext uri="{FF2B5EF4-FFF2-40B4-BE49-F238E27FC236}">
                <a16:creationId xmlns:a16="http://schemas.microsoft.com/office/drawing/2014/main" id="{720C2621-5841-414B-AC5F-C72DA625A44F}"/>
              </a:ext>
            </a:extLst>
          </p:cNvPr>
          <p:cNvSpPr/>
          <p:nvPr/>
        </p:nvSpPr>
        <p:spPr>
          <a:xfrm>
            <a:off x="1103088" y="4381862"/>
            <a:ext cx="2183867" cy="2222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Fundamentals</a:t>
            </a:r>
          </a:p>
        </p:txBody>
      </p:sp>
      <p:sp>
        <p:nvSpPr>
          <p:cNvPr id="96" name="M365 3 - 1">
            <a:extLst>
              <a:ext uri="{FF2B5EF4-FFF2-40B4-BE49-F238E27FC236}">
                <a16:creationId xmlns:a16="http://schemas.microsoft.com/office/drawing/2014/main" id="{7DCA67E9-7FDD-4046-8813-A110C16DFB37}"/>
              </a:ext>
            </a:extLst>
          </p:cNvPr>
          <p:cNvSpPr/>
          <p:nvPr/>
        </p:nvSpPr>
        <p:spPr>
          <a:xfrm>
            <a:off x="3406527" y="4380079"/>
            <a:ext cx="1223408" cy="22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Microsoft 365 Fundamentals</a:t>
            </a:r>
          </a:p>
        </p:txBody>
      </p:sp>
      <p:sp>
        <p:nvSpPr>
          <p:cNvPr id="119" name="Dyman 3 - 1">
            <a:extLst>
              <a:ext uri="{FF2B5EF4-FFF2-40B4-BE49-F238E27FC236}">
                <a16:creationId xmlns:a16="http://schemas.microsoft.com/office/drawing/2014/main" id="{9C9FD4D6-72BD-4935-8903-BBFE380841B8}"/>
              </a:ext>
            </a:extLst>
          </p:cNvPr>
          <p:cNvSpPr/>
          <p:nvPr/>
        </p:nvSpPr>
        <p:spPr>
          <a:xfrm>
            <a:off x="4761811" y="4376067"/>
            <a:ext cx="1285235" cy="2280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a:cs typeface="Segoe UI"/>
              </a:rPr>
              <a:t>Dynamics 365 Fundamentals*</a:t>
            </a:r>
          </a:p>
        </p:txBody>
      </p:sp>
      <p:sp>
        <p:nvSpPr>
          <p:cNvPr id="82" name="Dyman 3 - 2">
            <a:extLst>
              <a:ext uri="{FF2B5EF4-FFF2-40B4-BE49-F238E27FC236}">
                <a16:creationId xmlns:a16="http://schemas.microsoft.com/office/drawing/2014/main" id="{E88065AF-84C0-4A51-AD09-0FBC3ACB97DC}"/>
              </a:ext>
            </a:extLst>
          </p:cNvPr>
          <p:cNvSpPr/>
          <p:nvPr/>
        </p:nvSpPr>
        <p:spPr>
          <a:xfrm>
            <a:off x="6099152" y="4377741"/>
            <a:ext cx="1305843" cy="2241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Power Platform Fundamentals</a:t>
            </a:r>
          </a:p>
        </p:txBody>
      </p:sp>
      <p:sp>
        <p:nvSpPr>
          <p:cNvPr id="37" name="Specialty">
            <a:extLst>
              <a:ext uri="{FF2B5EF4-FFF2-40B4-BE49-F238E27FC236}">
                <a16:creationId xmlns:a16="http://schemas.microsoft.com/office/drawing/2014/main" id="{55589C6F-2171-4ABD-AA6C-7FC0D0FAE8BB}"/>
              </a:ext>
            </a:extLst>
          </p:cNvPr>
          <p:cNvSpPr txBox="1">
            <a:spLocks/>
          </p:cNvSpPr>
          <p:nvPr/>
        </p:nvSpPr>
        <p:spPr>
          <a:xfrm>
            <a:off x="7607095" y="930630"/>
            <a:ext cx="1100699" cy="538481"/>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defTabSz="699557">
              <a:lnSpc>
                <a:spcPct val="90000"/>
              </a:lnSpc>
              <a:spcAft>
                <a:spcPts val="450"/>
              </a:spcAft>
              <a:defRPr/>
            </a:pPr>
            <a:r>
              <a:rPr lang="en-US" sz="900" b="0">
                <a:solidFill>
                  <a:srgbClr val="E7E6E6">
                    <a:lumMod val="10000"/>
                  </a:srgbClr>
                </a:solidFill>
                <a:latin typeface="Segoe UI Semibold" panose="020B0702040204020203" pitchFamily="34" charset="0"/>
                <a:cs typeface="Segoe UI Semibold" panose="020B0702040204020203" pitchFamily="34" charset="0"/>
              </a:rPr>
              <a:t>Specialty</a:t>
            </a:r>
          </a:p>
          <a:p>
            <a:pPr defTabSz="699557">
              <a:lnSpc>
                <a:spcPct val="90000"/>
              </a:lnSpc>
              <a:defRPr/>
            </a:pPr>
            <a:r>
              <a:rPr lang="en-US" sz="675" b="0">
                <a:solidFill>
                  <a:srgbClr val="E7E6E6">
                    <a:lumMod val="10000"/>
                  </a:srgbClr>
                </a:solidFill>
                <a:latin typeface="Segoe UI" panose="020B0502040204020203" pitchFamily="34" charset="0"/>
              </a:rPr>
              <a:t>Deep technical skills managing industry solutions</a:t>
            </a:r>
          </a:p>
          <a:p>
            <a:pPr defTabSz="699557">
              <a:lnSpc>
                <a:spcPct val="90000"/>
              </a:lnSpc>
              <a:defRPr/>
            </a:pPr>
            <a:endParaRPr lang="en-US" sz="825">
              <a:solidFill>
                <a:srgbClr val="E7E6E6">
                  <a:lumMod val="10000"/>
                </a:srgbClr>
              </a:solidFill>
              <a:latin typeface="Segoe UI Semibold"/>
            </a:endParaRPr>
          </a:p>
        </p:txBody>
      </p:sp>
      <p:sp>
        <p:nvSpPr>
          <p:cNvPr id="83" name="Azure 4 - 1">
            <a:extLst>
              <a:ext uri="{FF2B5EF4-FFF2-40B4-BE49-F238E27FC236}">
                <a16:creationId xmlns:a16="http://schemas.microsoft.com/office/drawing/2014/main" id="{0E28631B-528F-4815-BAA8-5D7FF52A01A1}"/>
              </a:ext>
            </a:extLst>
          </p:cNvPr>
          <p:cNvSpPr/>
          <p:nvPr/>
        </p:nvSpPr>
        <p:spPr>
          <a:xfrm>
            <a:off x="7590571" y="1471285"/>
            <a:ext cx="1216421" cy="2927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0574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for SAP Workloads</a:t>
            </a:r>
          </a:p>
        </p:txBody>
      </p:sp>
      <p:pic>
        <p:nvPicPr>
          <p:cNvPr id="73" name="icon 1" descr="Cloud icon">
            <a:extLst>
              <a:ext uri="{FF2B5EF4-FFF2-40B4-BE49-F238E27FC236}">
                <a16:creationId xmlns:a16="http://schemas.microsoft.com/office/drawing/2014/main" id="{647AAB5A-9251-499A-9383-95435081C76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8674" y="1545990"/>
            <a:ext cx="183908" cy="111658"/>
          </a:xfrm>
          <a:prstGeom prst="rect">
            <a:avLst/>
          </a:prstGeom>
        </p:spPr>
      </p:pic>
      <p:grpSp>
        <p:nvGrpSpPr>
          <p:cNvPr id="5" name="Group 4">
            <a:extLst>
              <a:ext uri="{FF2B5EF4-FFF2-40B4-BE49-F238E27FC236}">
                <a16:creationId xmlns:a16="http://schemas.microsoft.com/office/drawing/2014/main" id="{282B6E17-F282-446E-9820-32BC79C22D0E}"/>
              </a:ext>
              <a:ext uri="{C183D7F6-B498-43B3-948B-1728B52AA6E4}">
                <adec:decorative xmlns:adec="http://schemas.microsoft.com/office/drawing/2017/decorative" val="1"/>
              </a:ext>
            </a:extLst>
          </p:cNvPr>
          <p:cNvGrpSpPr/>
          <p:nvPr/>
        </p:nvGrpSpPr>
        <p:grpSpPr>
          <a:xfrm>
            <a:off x="1085527" y="1495088"/>
            <a:ext cx="1183274" cy="3109008"/>
            <a:chOff x="1447368" y="1993450"/>
            <a:chExt cx="1577699" cy="4145344"/>
          </a:xfrm>
        </p:grpSpPr>
        <p:sp>
          <p:nvSpPr>
            <p:cNvPr id="125" name="blue side 2">
              <a:extLst>
                <a:ext uri="{FF2B5EF4-FFF2-40B4-BE49-F238E27FC236}">
                  <a16:creationId xmlns:a16="http://schemas.microsoft.com/office/drawing/2014/main" id="{39A46A8B-384A-4EAB-A52B-39A118FF65F0}"/>
                </a:ext>
                <a:ext uri="{C183D7F6-B498-43B3-948B-1728B52AA6E4}">
                  <adec:decorative xmlns:adec="http://schemas.microsoft.com/office/drawing/2017/decorative" val="1"/>
                </a:ext>
              </a:extLst>
            </p:cNvPr>
            <p:cNvSpPr/>
            <p:nvPr/>
          </p:nvSpPr>
          <p:spPr>
            <a:xfrm>
              <a:off x="1448884" y="2394380"/>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0" name="blue side 3">
              <a:extLst>
                <a:ext uri="{FF2B5EF4-FFF2-40B4-BE49-F238E27FC236}">
                  <a16:creationId xmlns:a16="http://schemas.microsoft.com/office/drawing/2014/main" id="{E398D739-480C-4B2E-A4BD-8E932B6365E9}"/>
                </a:ext>
                <a:ext uri="{C183D7F6-B498-43B3-948B-1728B52AA6E4}">
                  <adec:decorative xmlns:adec="http://schemas.microsoft.com/office/drawing/2017/decorative" val="1"/>
                </a:ext>
              </a:extLst>
            </p:cNvPr>
            <p:cNvSpPr/>
            <p:nvPr/>
          </p:nvSpPr>
          <p:spPr>
            <a:xfrm>
              <a:off x="1447368" y="3175022"/>
              <a:ext cx="48462" cy="33131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1" name="Blue side 4">
              <a:extLst>
                <a:ext uri="{FF2B5EF4-FFF2-40B4-BE49-F238E27FC236}">
                  <a16:creationId xmlns:a16="http://schemas.microsoft.com/office/drawing/2014/main" id="{E89A42A7-3059-431A-A623-DA8AFDC45880}"/>
                </a:ext>
                <a:ext uri="{C183D7F6-B498-43B3-948B-1728B52AA6E4}">
                  <adec:decorative xmlns:adec="http://schemas.microsoft.com/office/drawing/2017/decorative" val="1"/>
                </a:ext>
              </a:extLst>
            </p:cNvPr>
            <p:cNvSpPr/>
            <p:nvPr/>
          </p:nvSpPr>
          <p:spPr>
            <a:xfrm>
              <a:off x="1447368" y="3565750"/>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2" name="Blue side 5">
              <a:extLst>
                <a:ext uri="{FF2B5EF4-FFF2-40B4-BE49-F238E27FC236}">
                  <a16:creationId xmlns:a16="http://schemas.microsoft.com/office/drawing/2014/main" id="{A8AABBA4-AAEF-4B7F-8F60-F7D60C286030}"/>
                </a:ext>
                <a:ext uri="{C183D7F6-B498-43B3-948B-1728B52AA6E4}">
                  <adec:decorative xmlns:adec="http://schemas.microsoft.com/office/drawing/2017/decorative" val="1"/>
                </a:ext>
              </a:extLst>
            </p:cNvPr>
            <p:cNvSpPr/>
            <p:nvPr/>
          </p:nvSpPr>
          <p:spPr>
            <a:xfrm>
              <a:off x="1447368" y="3929912"/>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3" name="blue side 6">
              <a:extLst>
                <a:ext uri="{FF2B5EF4-FFF2-40B4-BE49-F238E27FC236}">
                  <a16:creationId xmlns:a16="http://schemas.microsoft.com/office/drawing/2014/main" id="{81508A6B-0A69-4AAB-B93A-39B91ED62EE2}"/>
                </a:ext>
                <a:ext uri="{C183D7F6-B498-43B3-948B-1728B52AA6E4}">
                  <adec:decorative xmlns:adec="http://schemas.microsoft.com/office/drawing/2017/decorative" val="1"/>
                </a:ext>
              </a:extLst>
            </p:cNvPr>
            <p:cNvSpPr/>
            <p:nvPr/>
          </p:nvSpPr>
          <p:spPr>
            <a:xfrm>
              <a:off x="2976605" y="3175022"/>
              <a:ext cx="48462" cy="33131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4" name="blue side 7">
              <a:extLst>
                <a:ext uri="{FF2B5EF4-FFF2-40B4-BE49-F238E27FC236}">
                  <a16:creationId xmlns:a16="http://schemas.microsoft.com/office/drawing/2014/main" id="{2D6CAC82-6B1D-4F79-A49F-3CF96D5AAFA4}"/>
                </a:ext>
                <a:ext uri="{C183D7F6-B498-43B3-948B-1728B52AA6E4}">
                  <adec:decorative xmlns:adec="http://schemas.microsoft.com/office/drawing/2017/decorative" val="1"/>
                </a:ext>
              </a:extLst>
            </p:cNvPr>
            <p:cNvSpPr/>
            <p:nvPr/>
          </p:nvSpPr>
          <p:spPr>
            <a:xfrm>
              <a:off x="2976605" y="3565750"/>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5" name="blue side 8">
              <a:extLst>
                <a:ext uri="{FF2B5EF4-FFF2-40B4-BE49-F238E27FC236}">
                  <a16:creationId xmlns:a16="http://schemas.microsoft.com/office/drawing/2014/main" id="{F9683802-2ADE-4E03-97D9-05F1FC153D3F}"/>
                </a:ext>
                <a:ext uri="{C183D7F6-B498-43B3-948B-1728B52AA6E4}">
                  <adec:decorative xmlns:adec="http://schemas.microsoft.com/office/drawing/2017/decorative" val="1"/>
                </a:ext>
              </a:extLst>
            </p:cNvPr>
            <p:cNvSpPr/>
            <p:nvPr/>
          </p:nvSpPr>
          <p:spPr>
            <a:xfrm>
              <a:off x="2976605" y="3923562"/>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6" name="blue side 9">
              <a:extLst>
                <a:ext uri="{FF2B5EF4-FFF2-40B4-BE49-F238E27FC236}">
                  <a16:creationId xmlns:a16="http://schemas.microsoft.com/office/drawing/2014/main" id="{EBDDE951-5047-4F1B-898B-C600034ECBCC}"/>
                </a:ext>
                <a:ext uri="{C183D7F6-B498-43B3-948B-1728B52AA6E4}">
                  <adec:decorative xmlns:adec="http://schemas.microsoft.com/office/drawing/2017/decorative" val="1"/>
                </a:ext>
              </a:extLst>
            </p:cNvPr>
            <p:cNvSpPr/>
            <p:nvPr/>
          </p:nvSpPr>
          <p:spPr>
            <a:xfrm>
              <a:off x="1447368" y="5840106"/>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2" name="blue side 1">
              <a:extLst>
                <a:ext uri="{FF2B5EF4-FFF2-40B4-BE49-F238E27FC236}">
                  <a16:creationId xmlns:a16="http://schemas.microsoft.com/office/drawing/2014/main" id="{AC7430B8-9DC1-4920-96C1-0BFC8BE1B664}"/>
                </a:ext>
                <a:ext uri="{C183D7F6-B498-43B3-948B-1728B52AA6E4}">
                  <adec:decorative xmlns:adec="http://schemas.microsoft.com/office/drawing/2017/decorative" val="1"/>
                </a:ext>
              </a:extLst>
            </p:cNvPr>
            <p:cNvSpPr/>
            <p:nvPr/>
          </p:nvSpPr>
          <p:spPr>
            <a:xfrm>
              <a:off x="1448884" y="1993450"/>
              <a:ext cx="48462" cy="331310"/>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grpSp>
        <p:nvGrpSpPr>
          <p:cNvPr id="10" name="Group 9">
            <a:extLst>
              <a:ext uri="{FF2B5EF4-FFF2-40B4-BE49-F238E27FC236}">
                <a16:creationId xmlns:a16="http://schemas.microsoft.com/office/drawing/2014/main" id="{86F142FC-E3E1-4B73-B66F-3F79B57EDDC5}"/>
              </a:ext>
              <a:ext uri="{C183D7F6-B498-43B3-948B-1728B52AA6E4}">
                <adec:decorative xmlns:adec="http://schemas.microsoft.com/office/drawing/2017/decorative" val="1"/>
              </a:ext>
            </a:extLst>
          </p:cNvPr>
          <p:cNvGrpSpPr/>
          <p:nvPr/>
        </p:nvGrpSpPr>
        <p:grpSpPr>
          <a:xfrm>
            <a:off x="4763941" y="1493433"/>
            <a:ext cx="36347" cy="553693"/>
            <a:chOff x="6351922" y="1991243"/>
            <a:chExt cx="48462" cy="738257"/>
          </a:xfrm>
        </p:grpSpPr>
        <p:sp>
          <p:nvSpPr>
            <p:cNvPr id="137" name="Green Side">
              <a:extLst>
                <a:ext uri="{FF2B5EF4-FFF2-40B4-BE49-F238E27FC236}">
                  <a16:creationId xmlns:a16="http://schemas.microsoft.com/office/drawing/2014/main" id="{1E216012-E6E0-4E29-80D6-41C840C6D6CD}"/>
                </a:ext>
                <a:ext uri="{C183D7F6-B498-43B3-948B-1728B52AA6E4}">
                  <adec:decorative xmlns:adec="http://schemas.microsoft.com/office/drawing/2017/decorative" val="1"/>
                </a:ext>
              </a:extLst>
            </p:cNvPr>
            <p:cNvSpPr/>
            <p:nvPr/>
          </p:nvSpPr>
          <p:spPr>
            <a:xfrm>
              <a:off x="6351922" y="1991243"/>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38" name="Green Side 1">
              <a:extLst>
                <a:ext uri="{FF2B5EF4-FFF2-40B4-BE49-F238E27FC236}">
                  <a16:creationId xmlns:a16="http://schemas.microsoft.com/office/drawing/2014/main" id="{7B7BB937-9D12-430D-AD76-0B8A99FF191D}"/>
                </a:ext>
                <a:ext uri="{C183D7F6-B498-43B3-948B-1728B52AA6E4}">
                  <adec:decorative xmlns:adec="http://schemas.microsoft.com/office/drawing/2017/decorative" val="1"/>
                </a:ext>
              </a:extLst>
            </p:cNvPr>
            <p:cNvSpPr/>
            <p:nvPr/>
          </p:nvSpPr>
          <p:spPr>
            <a:xfrm>
              <a:off x="6351922" y="2398190"/>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grpSp>
        <p:nvGrpSpPr>
          <p:cNvPr id="6" name="Group 5">
            <a:extLst>
              <a:ext uri="{FF2B5EF4-FFF2-40B4-BE49-F238E27FC236}">
                <a16:creationId xmlns:a16="http://schemas.microsoft.com/office/drawing/2014/main" id="{76680C5E-E158-4A40-A627-B41A65076168}"/>
              </a:ext>
              <a:ext uri="{C183D7F6-B498-43B3-948B-1728B52AA6E4}">
                <adec:decorative xmlns:adec="http://schemas.microsoft.com/office/drawing/2017/decorative" val="1"/>
              </a:ext>
            </a:extLst>
          </p:cNvPr>
          <p:cNvGrpSpPr/>
          <p:nvPr/>
        </p:nvGrpSpPr>
        <p:grpSpPr>
          <a:xfrm>
            <a:off x="3406527" y="1493993"/>
            <a:ext cx="43762" cy="3110102"/>
            <a:chOff x="4542036" y="1991990"/>
            <a:chExt cx="58349" cy="4146803"/>
          </a:xfrm>
        </p:grpSpPr>
        <p:sp>
          <p:nvSpPr>
            <p:cNvPr id="14" name="Purple side">
              <a:extLst>
                <a:ext uri="{FF2B5EF4-FFF2-40B4-BE49-F238E27FC236}">
                  <a16:creationId xmlns:a16="http://schemas.microsoft.com/office/drawing/2014/main" id="{E638ACC4-1845-4A5A-BADB-60A03EF2E296}"/>
                </a:ext>
                <a:ext uri="{C183D7F6-B498-43B3-948B-1728B52AA6E4}">
                  <adec:decorative xmlns:adec="http://schemas.microsoft.com/office/drawing/2017/decorative" val="1"/>
                </a:ext>
              </a:extLst>
            </p:cNvPr>
            <p:cNvSpPr/>
            <p:nvPr/>
          </p:nvSpPr>
          <p:spPr>
            <a:xfrm>
              <a:off x="4551923" y="1991990"/>
              <a:ext cx="48462" cy="33131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09" name="Purple side 1">
              <a:extLst>
                <a:ext uri="{FF2B5EF4-FFF2-40B4-BE49-F238E27FC236}">
                  <a16:creationId xmlns:a16="http://schemas.microsoft.com/office/drawing/2014/main" id="{FB4F261A-F1FC-4BDC-8DFA-38B309931BED}"/>
                </a:ext>
                <a:ext uri="{C183D7F6-B498-43B3-948B-1728B52AA6E4}">
                  <adec:decorative xmlns:adec="http://schemas.microsoft.com/office/drawing/2017/decorative" val="1"/>
                </a:ext>
              </a:extLst>
            </p:cNvPr>
            <p:cNvSpPr/>
            <p:nvPr/>
          </p:nvSpPr>
          <p:spPr>
            <a:xfrm>
              <a:off x="4549689" y="3176340"/>
              <a:ext cx="48462" cy="33131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10" name="Purple side 2">
              <a:extLst>
                <a:ext uri="{FF2B5EF4-FFF2-40B4-BE49-F238E27FC236}">
                  <a16:creationId xmlns:a16="http://schemas.microsoft.com/office/drawing/2014/main" id="{BF66D356-DFED-42DC-ABC8-1F9EE02A5CC5}"/>
                </a:ext>
                <a:ext uri="{C183D7F6-B498-43B3-948B-1728B52AA6E4}">
                  <adec:decorative xmlns:adec="http://schemas.microsoft.com/office/drawing/2017/decorative" val="1"/>
                </a:ext>
              </a:extLst>
            </p:cNvPr>
            <p:cNvSpPr/>
            <p:nvPr/>
          </p:nvSpPr>
          <p:spPr>
            <a:xfrm>
              <a:off x="4549689" y="3580621"/>
              <a:ext cx="48462" cy="33131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13" name="Purple side 3">
              <a:extLst>
                <a:ext uri="{FF2B5EF4-FFF2-40B4-BE49-F238E27FC236}">
                  <a16:creationId xmlns:a16="http://schemas.microsoft.com/office/drawing/2014/main" id="{B46FF001-4DF6-46C6-87D2-DA9CF9BC2AE8}"/>
                </a:ext>
                <a:ext uri="{C183D7F6-B498-43B3-948B-1728B52AA6E4}">
                  <adec:decorative xmlns:adec="http://schemas.microsoft.com/office/drawing/2017/decorative" val="1"/>
                </a:ext>
              </a:extLst>
            </p:cNvPr>
            <p:cNvSpPr/>
            <p:nvPr/>
          </p:nvSpPr>
          <p:spPr>
            <a:xfrm>
              <a:off x="4549689" y="3982776"/>
              <a:ext cx="47108" cy="32775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18" name="Purple side 4">
              <a:extLst>
                <a:ext uri="{FF2B5EF4-FFF2-40B4-BE49-F238E27FC236}">
                  <a16:creationId xmlns:a16="http://schemas.microsoft.com/office/drawing/2014/main" id="{6C2D8B03-AA69-4BFD-B65F-02038E7580B4}"/>
                </a:ext>
                <a:ext uri="{C183D7F6-B498-43B3-948B-1728B52AA6E4}">
                  <adec:decorative xmlns:adec="http://schemas.microsoft.com/office/drawing/2017/decorative" val="1"/>
                </a:ext>
              </a:extLst>
            </p:cNvPr>
            <p:cNvSpPr/>
            <p:nvPr/>
          </p:nvSpPr>
          <p:spPr>
            <a:xfrm>
              <a:off x="4549145" y="4376631"/>
              <a:ext cx="47108" cy="32775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0" name="Purple side 5">
              <a:extLst>
                <a:ext uri="{FF2B5EF4-FFF2-40B4-BE49-F238E27FC236}">
                  <a16:creationId xmlns:a16="http://schemas.microsoft.com/office/drawing/2014/main" id="{F1034D56-05EF-40F5-8667-B85CEC60B9A3}"/>
                </a:ext>
                <a:ext uri="{C183D7F6-B498-43B3-948B-1728B52AA6E4}">
                  <adec:decorative xmlns:adec="http://schemas.microsoft.com/office/drawing/2017/decorative" val="1"/>
                </a:ext>
              </a:extLst>
            </p:cNvPr>
            <p:cNvSpPr/>
            <p:nvPr/>
          </p:nvSpPr>
          <p:spPr>
            <a:xfrm>
              <a:off x="4546848" y="4771796"/>
              <a:ext cx="45719" cy="325459"/>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21" name="Purple side 6">
              <a:extLst>
                <a:ext uri="{FF2B5EF4-FFF2-40B4-BE49-F238E27FC236}">
                  <a16:creationId xmlns:a16="http://schemas.microsoft.com/office/drawing/2014/main" id="{C49E0928-B96A-4AA6-BD5C-C03371639BC6}"/>
                </a:ext>
                <a:ext uri="{C183D7F6-B498-43B3-948B-1728B52AA6E4}">
                  <adec:decorative xmlns:adec="http://schemas.microsoft.com/office/drawing/2017/decorative" val="1"/>
                </a:ext>
              </a:extLst>
            </p:cNvPr>
            <p:cNvSpPr/>
            <p:nvPr/>
          </p:nvSpPr>
          <p:spPr>
            <a:xfrm>
              <a:off x="4546848" y="5162505"/>
              <a:ext cx="45719" cy="325459"/>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8" name="purple side 12">
              <a:extLst>
                <a:ext uri="{FF2B5EF4-FFF2-40B4-BE49-F238E27FC236}">
                  <a16:creationId xmlns:a16="http://schemas.microsoft.com/office/drawing/2014/main" id="{5BEC03C9-0818-471E-A6A5-8B80484B5644}"/>
                </a:ext>
                <a:ext uri="{C183D7F6-B498-43B3-948B-1728B52AA6E4}">
                  <adec:decorative xmlns:adec="http://schemas.microsoft.com/office/drawing/2017/decorative" val="1"/>
                </a:ext>
              </a:extLst>
            </p:cNvPr>
            <p:cNvSpPr/>
            <p:nvPr/>
          </p:nvSpPr>
          <p:spPr>
            <a:xfrm>
              <a:off x="4542036" y="5840105"/>
              <a:ext cx="48462" cy="29868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grpSp>
        <p:nvGrpSpPr>
          <p:cNvPr id="7" name="Group 6">
            <a:extLst>
              <a:ext uri="{FF2B5EF4-FFF2-40B4-BE49-F238E27FC236}">
                <a16:creationId xmlns:a16="http://schemas.microsoft.com/office/drawing/2014/main" id="{BBC7AACE-FF1F-41BF-8D49-7F7FDB2EE5C0}"/>
              </a:ext>
              <a:ext uri="{C183D7F6-B498-43B3-948B-1728B52AA6E4}">
                <adec:decorative xmlns:adec="http://schemas.microsoft.com/office/drawing/2017/decorative" val="1"/>
              </a:ext>
            </a:extLst>
          </p:cNvPr>
          <p:cNvGrpSpPr/>
          <p:nvPr/>
        </p:nvGrpSpPr>
        <p:grpSpPr>
          <a:xfrm>
            <a:off x="4761811" y="2379594"/>
            <a:ext cx="1379057" cy="2222275"/>
            <a:chOff x="6349081" y="3172791"/>
            <a:chExt cx="1838743" cy="2963033"/>
          </a:xfrm>
        </p:grpSpPr>
        <p:sp>
          <p:nvSpPr>
            <p:cNvPr id="139" name="Green Side 2">
              <a:extLst>
                <a:ext uri="{FF2B5EF4-FFF2-40B4-BE49-F238E27FC236}">
                  <a16:creationId xmlns:a16="http://schemas.microsoft.com/office/drawing/2014/main" id="{C977BB0C-B53F-455A-B4FA-3A90B0D8B154}"/>
                </a:ext>
                <a:ext uri="{C183D7F6-B498-43B3-948B-1728B52AA6E4}">
                  <adec:decorative xmlns:adec="http://schemas.microsoft.com/office/drawing/2017/decorative" val="1"/>
                </a:ext>
              </a:extLst>
            </p:cNvPr>
            <p:cNvSpPr/>
            <p:nvPr/>
          </p:nvSpPr>
          <p:spPr>
            <a:xfrm>
              <a:off x="6349081" y="3175022"/>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0" name="Green Side 3">
              <a:extLst>
                <a:ext uri="{FF2B5EF4-FFF2-40B4-BE49-F238E27FC236}">
                  <a16:creationId xmlns:a16="http://schemas.microsoft.com/office/drawing/2014/main" id="{B1F9C36F-C4B2-4ECD-9B1D-8210215C231B}"/>
                </a:ext>
                <a:ext uri="{C183D7F6-B498-43B3-948B-1728B52AA6E4}">
                  <adec:decorative xmlns:adec="http://schemas.microsoft.com/office/drawing/2017/decorative" val="1"/>
                </a:ext>
              </a:extLst>
            </p:cNvPr>
            <p:cNvSpPr/>
            <p:nvPr/>
          </p:nvSpPr>
          <p:spPr>
            <a:xfrm>
              <a:off x="6349081" y="3578495"/>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1" name="Green Side 4">
              <a:extLst>
                <a:ext uri="{FF2B5EF4-FFF2-40B4-BE49-F238E27FC236}">
                  <a16:creationId xmlns:a16="http://schemas.microsoft.com/office/drawing/2014/main" id="{09B25F49-7821-4CAA-89F5-97708EC6FF1E}"/>
                </a:ext>
                <a:ext uri="{C183D7F6-B498-43B3-948B-1728B52AA6E4}">
                  <adec:decorative xmlns:adec="http://schemas.microsoft.com/office/drawing/2017/decorative" val="1"/>
                </a:ext>
              </a:extLst>
            </p:cNvPr>
            <p:cNvSpPr/>
            <p:nvPr/>
          </p:nvSpPr>
          <p:spPr>
            <a:xfrm>
              <a:off x="8139362" y="3172791"/>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2" name="Green Side 5">
              <a:extLst>
                <a:ext uri="{FF2B5EF4-FFF2-40B4-BE49-F238E27FC236}">
                  <a16:creationId xmlns:a16="http://schemas.microsoft.com/office/drawing/2014/main" id="{4C075A13-9502-48AB-931B-0CAB772FDCCF}"/>
                </a:ext>
                <a:ext uri="{C183D7F6-B498-43B3-948B-1728B52AA6E4}">
                  <adec:decorative xmlns:adec="http://schemas.microsoft.com/office/drawing/2017/decorative" val="1"/>
                </a:ext>
              </a:extLst>
            </p:cNvPr>
            <p:cNvSpPr/>
            <p:nvPr/>
          </p:nvSpPr>
          <p:spPr>
            <a:xfrm>
              <a:off x="8139362" y="3576264"/>
              <a:ext cx="48462" cy="33131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3" name="Green Side 6">
              <a:extLst>
                <a:ext uri="{FF2B5EF4-FFF2-40B4-BE49-F238E27FC236}">
                  <a16:creationId xmlns:a16="http://schemas.microsoft.com/office/drawing/2014/main" id="{F42C7998-043A-4F36-9B2F-3B567E75BDC0}"/>
                </a:ext>
                <a:ext uri="{C183D7F6-B498-43B3-948B-1728B52AA6E4}">
                  <adec:decorative xmlns:adec="http://schemas.microsoft.com/office/drawing/2017/decorative" val="1"/>
                </a:ext>
              </a:extLst>
            </p:cNvPr>
            <p:cNvSpPr/>
            <p:nvPr/>
          </p:nvSpPr>
          <p:spPr>
            <a:xfrm>
              <a:off x="6349081" y="3977580"/>
              <a:ext cx="51303" cy="268232"/>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4" name="Green Side 7">
              <a:extLst>
                <a:ext uri="{FF2B5EF4-FFF2-40B4-BE49-F238E27FC236}">
                  <a16:creationId xmlns:a16="http://schemas.microsoft.com/office/drawing/2014/main" id="{34B393CA-1ACA-49D5-A6F6-BCEA1CD5EFD9}"/>
                </a:ext>
                <a:ext uri="{C183D7F6-B498-43B3-948B-1728B52AA6E4}">
                  <adec:decorative xmlns:adec="http://schemas.microsoft.com/office/drawing/2017/decorative" val="1"/>
                </a:ext>
              </a:extLst>
            </p:cNvPr>
            <p:cNvSpPr/>
            <p:nvPr/>
          </p:nvSpPr>
          <p:spPr>
            <a:xfrm>
              <a:off x="6349081" y="4308890"/>
              <a:ext cx="51303" cy="268232"/>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5" name="Green Side 8">
              <a:extLst>
                <a:ext uri="{FF2B5EF4-FFF2-40B4-BE49-F238E27FC236}">
                  <a16:creationId xmlns:a16="http://schemas.microsoft.com/office/drawing/2014/main" id="{119FC00B-2AAC-4310-BEFF-A3AEC14C5503}"/>
                </a:ext>
                <a:ext uri="{C183D7F6-B498-43B3-948B-1728B52AA6E4}">
                  <adec:decorative xmlns:adec="http://schemas.microsoft.com/office/drawing/2017/decorative" val="1"/>
                </a:ext>
              </a:extLst>
            </p:cNvPr>
            <p:cNvSpPr/>
            <p:nvPr/>
          </p:nvSpPr>
          <p:spPr>
            <a:xfrm>
              <a:off x="6349081" y="4644921"/>
              <a:ext cx="51303" cy="268232"/>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6" name="Green Side 9">
              <a:extLst>
                <a:ext uri="{FF2B5EF4-FFF2-40B4-BE49-F238E27FC236}">
                  <a16:creationId xmlns:a16="http://schemas.microsoft.com/office/drawing/2014/main" id="{08F9BAF1-CA26-4B07-BE19-7E96812241A9}"/>
                </a:ext>
                <a:ext uri="{C183D7F6-B498-43B3-948B-1728B52AA6E4}">
                  <adec:decorative xmlns:adec="http://schemas.microsoft.com/office/drawing/2017/decorative" val="1"/>
                </a:ext>
              </a:extLst>
            </p:cNvPr>
            <p:cNvSpPr/>
            <p:nvPr/>
          </p:nvSpPr>
          <p:spPr>
            <a:xfrm>
              <a:off x="6349081" y="4988675"/>
              <a:ext cx="51303" cy="268232"/>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7" name="Green Side 10">
              <a:extLst>
                <a:ext uri="{FF2B5EF4-FFF2-40B4-BE49-F238E27FC236}">
                  <a16:creationId xmlns:a16="http://schemas.microsoft.com/office/drawing/2014/main" id="{92EE3CEB-0DF8-4DA5-961F-DC4CF1C51D33}"/>
                </a:ext>
                <a:ext uri="{C183D7F6-B498-43B3-948B-1728B52AA6E4}">
                  <adec:decorative xmlns:adec="http://schemas.microsoft.com/office/drawing/2017/decorative" val="1"/>
                </a:ext>
              </a:extLst>
            </p:cNvPr>
            <p:cNvSpPr/>
            <p:nvPr/>
          </p:nvSpPr>
          <p:spPr>
            <a:xfrm>
              <a:off x="6349081" y="5324706"/>
              <a:ext cx="51303" cy="268232"/>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49" name="green slide q">
              <a:extLst>
                <a:ext uri="{FF2B5EF4-FFF2-40B4-BE49-F238E27FC236}">
                  <a16:creationId xmlns:a16="http://schemas.microsoft.com/office/drawing/2014/main" id="{0AB802A7-1322-4811-AA12-FE1FDFBCD199}"/>
                </a:ext>
                <a:ext uri="{C183D7F6-B498-43B3-948B-1728B52AA6E4}">
                  <adec:decorative xmlns:adec="http://schemas.microsoft.com/office/drawing/2017/decorative" val="1"/>
                </a:ext>
              </a:extLst>
            </p:cNvPr>
            <p:cNvSpPr/>
            <p:nvPr/>
          </p:nvSpPr>
          <p:spPr>
            <a:xfrm>
              <a:off x="6349081" y="5837136"/>
              <a:ext cx="48462" cy="298688"/>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50" name="green slide w">
              <a:extLst>
                <a:ext uri="{FF2B5EF4-FFF2-40B4-BE49-F238E27FC236}">
                  <a16:creationId xmlns:a16="http://schemas.microsoft.com/office/drawing/2014/main" id="{B31C812A-0C99-4664-A78F-3CDC91C580C7}"/>
                </a:ext>
                <a:ext uri="{C183D7F6-B498-43B3-948B-1728B52AA6E4}">
                  <adec:decorative xmlns:adec="http://schemas.microsoft.com/office/drawing/2017/decorative" val="1"/>
                </a:ext>
              </a:extLst>
            </p:cNvPr>
            <p:cNvSpPr/>
            <p:nvPr/>
          </p:nvSpPr>
          <p:spPr>
            <a:xfrm>
              <a:off x="8132728" y="5834755"/>
              <a:ext cx="48462" cy="298688"/>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151" name="blue side q">
            <a:extLst>
              <a:ext uri="{FF2B5EF4-FFF2-40B4-BE49-F238E27FC236}">
                <a16:creationId xmlns:a16="http://schemas.microsoft.com/office/drawing/2014/main" id="{BB58BB9B-3615-4896-A4B0-EA20BBB15A9C}"/>
              </a:ext>
              <a:ext uri="{C183D7F6-B498-43B3-948B-1728B52AA6E4}">
                <adec:decorative xmlns:adec="http://schemas.microsoft.com/office/drawing/2017/decorative" val="1"/>
              </a:ext>
            </a:extLst>
          </p:cNvPr>
          <p:cNvSpPr/>
          <p:nvPr/>
        </p:nvSpPr>
        <p:spPr>
          <a:xfrm>
            <a:off x="7584941" y="1471285"/>
            <a:ext cx="39739" cy="29277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sp>
        <p:nvSpPr>
          <p:cNvPr id="163" name="Azure 4 - 1">
            <a:extLst>
              <a:ext uri="{FF2B5EF4-FFF2-40B4-BE49-F238E27FC236}">
                <a16:creationId xmlns:a16="http://schemas.microsoft.com/office/drawing/2014/main" id="{DF529831-5872-49B3-8B0E-FDCF7E07C48C}"/>
              </a:ext>
            </a:extLst>
          </p:cNvPr>
          <p:cNvSpPr/>
          <p:nvPr/>
        </p:nvSpPr>
        <p:spPr>
          <a:xfrm>
            <a:off x="7589834" y="1824508"/>
            <a:ext cx="1216421" cy="2927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0574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IoT Developer*</a:t>
            </a:r>
          </a:p>
        </p:txBody>
      </p:sp>
      <p:pic>
        <p:nvPicPr>
          <p:cNvPr id="164" name="icon 1" descr="Cloud icon">
            <a:extLst>
              <a:ext uri="{FF2B5EF4-FFF2-40B4-BE49-F238E27FC236}">
                <a16:creationId xmlns:a16="http://schemas.microsoft.com/office/drawing/2014/main" id="{9D1F01C7-1B5C-4115-ABBE-8DB3A5E3E4E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57937" y="1899213"/>
            <a:ext cx="183908" cy="111658"/>
          </a:xfrm>
          <a:prstGeom prst="rect">
            <a:avLst/>
          </a:prstGeom>
        </p:spPr>
      </p:pic>
      <p:sp>
        <p:nvSpPr>
          <p:cNvPr id="165" name="blue side q">
            <a:extLst>
              <a:ext uri="{FF2B5EF4-FFF2-40B4-BE49-F238E27FC236}">
                <a16:creationId xmlns:a16="http://schemas.microsoft.com/office/drawing/2014/main" id="{841F419E-9E42-450F-B0FB-FB083B90CB4D}"/>
              </a:ext>
              <a:ext uri="{C183D7F6-B498-43B3-948B-1728B52AA6E4}">
                <adec:decorative xmlns:adec="http://schemas.microsoft.com/office/drawing/2017/decorative" val="1"/>
              </a:ext>
            </a:extLst>
          </p:cNvPr>
          <p:cNvSpPr/>
          <p:nvPr/>
        </p:nvSpPr>
        <p:spPr>
          <a:xfrm>
            <a:off x="7584204" y="1824508"/>
            <a:ext cx="39739" cy="29277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pic>
        <p:nvPicPr>
          <p:cNvPr id="174" name="icon 1" descr="Cloud icon">
            <a:extLst>
              <a:ext uri="{FF2B5EF4-FFF2-40B4-BE49-F238E27FC236}">
                <a16:creationId xmlns:a16="http://schemas.microsoft.com/office/drawing/2014/main" id="{2B0860EE-F570-477E-9EC2-2C7F75BFB14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54598" y="956036"/>
            <a:ext cx="258476" cy="154530"/>
          </a:xfrm>
          <a:prstGeom prst="rect">
            <a:avLst/>
          </a:prstGeom>
        </p:spPr>
      </p:pic>
      <p:sp>
        <p:nvSpPr>
          <p:cNvPr id="175" name="Apps">
            <a:extLst>
              <a:ext uri="{FF2B5EF4-FFF2-40B4-BE49-F238E27FC236}">
                <a16:creationId xmlns:a16="http://schemas.microsoft.com/office/drawing/2014/main" id="{E5CB056E-478E-4FF1-9DBF-CE6485268A5D}"/>
              </a:ext>
            </a:extLst>
          </p:cNvPr>
          <p:cNvSpPr/>
          <p:nvPr/>
        </p:nvSpPr>
        <p:spPr bwMode="auto">
          <a:xfrm>
            <a:off x="1066309" y="1178101"/>
            <a:ext cx="1118828" cy="184666"/>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685775">
              <a:defRPr/>
            </a:pPr>
            <a:r>
              <a:rPr lang="en-US" sz="750" i="1">
                <a:solidFill>
                  <a:prstClr val="white"/>
                </a:solidFill>
                <a:latin typeface="Segoe UI Semibold" panose="020B0702040204020203" pitchFamily="34" charset="0"/>
                <a:cs typeface="Segoe UI Semibold" panose="020B0702040204020203" pitchFamily="34" charset="0"/>
              </a:rPr>
              <a:t>(Apps &amp; Infra)</a:t>
            </a:r>
          </a:p>
        </p:txBody>
      </p:sp>
      <p:sp>
        <p:nvSpPr>
          <p:cNvPr id="176" name="Data &amp; AI">
            <a:extLst>
              <a:ext uri="{FF2B5EF4-FFF2-40B4-BE49-F238E27FC236}">
                <a16:creationId xmlns:a16="http://schemas.microsoft.com/office/drawing/2014/main" id="{F7595A42-D8FD-41ED-9135-B39B67FF8D5E}"/>
              </a:ext>
            </a:extLst>
          </p:cNvPr>
          <p:cNvSpPr/>
          <p:nvPr/>
        </p:nvSpPr>
        <p:spPr bwMode="auto">
          <a:xfrm>
            <a:off x="2198984" y="1183997"/>
            <a:ext cx="1150375" cy="184666"/>
          </a:xfrm>
          <a:prstGeom prst="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horz" wrap="square" lIns="68580" tIns="34290" rIns="68580" bIns="3429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algn="ctr" defTabSz="685775">
              <a:defRPr/>
            </a:pPr>
            <a:r>
              <a:rPr lang="en-US" sz="750" i="1">
                <a:solidFill>
                  <a:prstClr val="white"/>
                </a:solidFill>
                <a:latin typeface="Segoe UI Semibold" panose="020B0702040204020203" pitchFamily="34" charset="0"/>
                <a:cs typeface="Segoe UI Semibold" panose="020B0702040204020203" pitchFamily="34" charset="0"/>
              </a:rPr>
              <a:t>(Data &amp; AI)</a:t>
            </a:r>
          </a:p>
        </p:txBody>
      </p:sp>
      <p:sp>
        <p:nvSpPr>
          <p:cNvPr id="177" name="modern workplace">
            <a:extLst>
              <a:ext uri="{FF2B5EF4-FFF2-40B4-BE49-F238E27FC236}">
                <a16:creationId xmlns:a16="http://schemas.microsoft.com/office/drawing/2014/main" id="{0762A75B-C946-4AFA-9342-8E9C46661480}"/>
              </a:ext>
              <a:ext uri="{C183D7F6-B498-43B3-948B-1728B52AA6E4}">
                <adec:decorative xmlns:adec="http://schemas.microsoft.com/office/drawing/2017/decorative" val="1"/>
              </a:ext>
            </a:extLst>
          </p:cNvPr>
          <p:cNvSpPr txBox="1">
            <a:spLocks/>
          </p:cNvSpPr>
          <p:nvPr/>
        </p:nvSpPr>
        <p:spPr>
          <a:xfrm>
            <a:off x="1194617" y="949804"/>
            <a:ext cx="2283050" cy="173124"/>
          </a:xfrm>
          <a:prstGeom prst="rect">
            <a:avLst/>
          </a:prstGeom>
        </p:spPr>
        <p:txBody>
          <a:bodyPr vert="horz" wrap="square" lIns="0" tIns="48006" rIns="0" bIns="0" rtlCol="0" anchor="t">
            <a:spAutoFit/>
          </a:bodyPr>
          <a:lstStyle>
            <a:lvl1pPr algn="l" defTabSz="932742" rtl="0" eaLnBrk="1" latinLnBrk="0" hangingPunct="1">
              <a:lnSpc>
                <a:spcPct val="100000"/>
              </a:lnSpc>
              <a:spcBef>
                <a:spcPct val="0"/>
              </a:spcBef>
              <a:buNone/>
              <a:defRPr lang="en-US" sz="2400" b="1" kern="1200" cap="none" spc="0"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defTabSz="699557">
              <a:lnSpc>
                <a:spcPct val="90000"/>
              </a:lnSpc>
              <a:defRPr/>
            </a:pPr>
            <a:r>
              <a:rPr lang="en-US" sz="900">
                <a:solidFill>
                  <a:prstClr val="white"/>
                </a:solidFill>
                <a:latin typeface="Segoe UI Semibold"/>
              </a:rPr>
              <a:t>Azure</a:t>
            </a:r>
          </a:p>
        </p:txBody>
      </p:sp>
      <p:sp>
        <p:nvSpPr>
          <p:cNvPr id="85" name="Azure 1">
            <a:extLst>
              <a:ext uri="{FF2B5EF4-FFF2-40B4-BE49-F238E27FC236}">
                <a16:creationId xmlns:a16="http://schemas.microsoft.com/office/drawing/2014/main" id="{4E03A581-3B99-4CC2-8EB7-81669E5C5B2F}"/>
              </a:ext>
            </a:extLst>
          </p:cNvPr>
          <p:cNvSpPr/>
          <p:nvPr/>
        </p:nvSpPr>
        <p:spPr>
          <a:xfrm>
            <a:off x="1129333" y="1495136"/>
            <a:ext cx="2159530" cy="2484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Solutions Architect^</a:t>
            </a:r>
          </a:p>
        </p:txBody>
      </p:sp>
      <p:grpSp>
        <p:nvGrpSpPr>
          <p:cNvPr id="12" name="Group 11">
            <a:extLst>
              <a:ext uri="{FF2B5EF4-FFF2-40B4-BE49-F238E27FC236}">
                <a16:creationId xmlns:a16="http://schemas.microsoft.com/office/drawing/2014/main" id="{CF804DFC-25E5-44F0-9043-59AC54336F18}"/>
              </a:ext>
            </a:extLst>
          </p:cNvPr>
          <p:cNvGrpSpPr/>
          <p:nvPr/>
        </p:nvGrpSpPr>
        <p:grpSpPr>
          <a:xfrm>
            <a:off x="2232454" y="3199256"/>
            <a:ext cx="1054501" cy="226749"/>
            <a:chOff x="2976605" y="4272812"/>
            <a:chExt cx="1406001" cy="302332"/>
          </a:xfrm>
        </p:grpSpPr>
        <p:sp>
          <p:nvSpPr>
            <p:cNvPr id="182" name="Azure 2 - 6">
              <a:extLst>
                <a:ext uri="{FF2B5EF4-FFF2-40B4-BE49-F238E27FC236}">
                  <a16:creationId xmlns:a16="http://schemas.microsoft.com/office/drawing/2014/main" id="{6AA2A709-391E-49F8-B451-9257FEC2296B}"/>
                </a:ext>
              </a:extLst>
            </p:cNvPr>
            <p:cNvSpPr/>
            <p:nvPr/>
          </p:nvSpPr>
          <p:spPr>
            <a:xfrm>
              <a:off x="2979779" y="4274875"/>
              <a:ext cx="1402827" cy="3002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Data Analyst**</a:t>
              </a:r>
            </a:p>
          </p:txBody>
        </p:sp>
        <p:sp>
          <p:nvSpPr>
            <p:cNvPr id="184" name="blue side 8">
              <a:extLst>
                <a:ext uri="{FF2B5EF4-FFF2-40B4-BE49-F238E27FC236}">
                  <a16:creationId xmlns:a16="http://schemas.microsoft.com/office/drawing/2014/main" id="{3D1FE6C6-E59F-425B-8B48-A340183FE788}"/>
                </a:ext>
                <a:ext uri="{C183D7F6-B498-43B3-948B-1728B52AA6E4}">
                  <adec:decorative xmlns:adec="http://schemas.microsoft.com/office/drawing/2017/decorative" val="1"/>
                </a:ext>
              </a:extLst>
            </p:cNvPr>
            <p:cNvSpPr/>
            <p:nvPr/>
          </p:nvSpPr>
          <p:spPr>
            <a:xfrm>
              <a:off x="2976605" y="4272812"/>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grpSp>
        <p:nvGrpSpPr>
          <p:cNvPr id="17" name="Group 16">
            <a:extLst>
              <a:ext uri="{FF2B5EF4-FFF2-40B4-BE49-F238E27FC236}">
                <a16:creationId xmlns:a16="http://schemas.microsoft.com/office/drawing/2014/main" id="{ED91E39B-4F1D-45F5-9066-900AA5E6F774}"/>
              </a:ext>
            </a:extLst>
          </p:cNvPr>
          <p:cNvGrpSpPr/>
          <p:nvPr/>
        </p:nvGrpSpPr>
        <p:grpSpPr>
          <a:xfrm>
            <a:off x="2232454" y="3466547"/>
            <a:ext cx="1054501" cy="226749"/>
            <a:chOff x="2989305" y="4622062"/>
            <a:chExt cx="1406001" cy="302332"/>
          </a:xfrm>
        </p:grpSpPr>
        <p:sp>
          <p:nvSpPr>
            <p:cNvPr id="187" name="Azure 2 - 6">
              <a:extLst>
                <a:ext uri="{FF2B5EF4-FFF2-40B4-BE49-F238E27FC236}">
                  <a16:creationId xmlns:a16="http://schemas.microsoft.com/office/drawing/2014/main" id="{22BCA244-0E79-4B2C-80B0-D8047569DA21}"/>
                </a:ext>
              </a:extLst>
            </p:cNvPr>
            <p:cNvSpPr/>
            <p:nvPr/>
          </p:nvSpPr>
          <p:spPr>
            <a:xfrm>
              <a:off x="2992479" y="4624125"/>
              <a:ext cx="1402827" cy="3002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 defTabSz="699354" fontAlgn="base" hangingPunct="1">
                <a:spcBef>
                  <a:spcPct val="0"/>
                </a:spcBef>
                <a:spcAft>
                  <a:spcPct val="0"/>
                </a:spcAft>
                <a:defRPr/>
              </a:pPr>
              <a:r>
                <a:rPr lang="en-US" sz="675" kern="1200">
                  <a:solidFill>
                    <a:prstClr val="black"/>
                  </a:solidFill>
                  <a:latin typeface="Segoe UI" panose="020B0502040204020203" pitchFamily="34" charset="0"/>
                  <a:cs typeface="Segoe UI" panose="020B0502040204020203" pitchFamily="34" charset="0"/>
                </a:rPr>
                <a:t>Azure Database Administrator**</a:t>
              </a:r>
            </a:p>
          </p:txBody>
        </p:sp>
        <p:sp>
          <p:nvSpPr>
            <p:cNvPr id="188" name="blue side 8">
              <a:extLst>
                <a:ext uri="{FF2B5EF4-FFF2-40B4-BE49-F238E27FC236}">
                  <a16:creationId xmlns:a16="http://schemas.microsoft.com/office/drawing/2014/main" id="{D20701A0-DCF7-42FD-A32B-C1B17D5E8EA0}"/>
                </a:ext>
                <a:ext uri="{C183D7F6-B498-43B3-948B-1728B52AA6E4}">
                  <adec:decorative xmlns:adec="http://schemas.microsoft.com/office/drawing/2017/decorative" val="1"/>
                </a:ext>
              </a:extLst>
            </p:cNvPr>
            <p:cNvSpPr/>
            <p:nvPr/>
          </p:nvSpPr>
          <p:spPr>
            <a:xfrm>
              <a:off x="2989305" y="4622062"/>
              <a:ext cx="48462" cy="298688"/>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hangingPunct="1">
                <a:defRPr/>
              </a:pPr>
              <a:endParaRPr lang="en-US" sz="1350" kern="1200">
                <a:solidFill>
                  <a:prstClr val="white"/>
                </a:solidFill>
                <a:latin typeface="Segoe UI"/>
              </a:endParaRPr>
            </a:p>
          </p:txBody>
        </p:sp>
      </p:grpSp>
      <p:sp>
        <p:nvSpPr>
          <p:cNvPr id="18" name="Footer Placeholder 17">
            <a:extLst>
              <a:ext uri="{FF2B5EF4-FFF2-40B4-BE49-F238E27FC236}">
                <a16:creationId xmlns:a16="http://schemas.microsoft.com/office/drawing/2014/main" id="{93C5673B-73F0-420B-B83E-A7B8BD919E81}"/>
              </a:ext>
            </a:extLst>
          </p:cNvPr>
          <p:cNvSpPr>
            <a:spLocks noGrp="1"/>
          </p:cNvSpPr>
          <p:nvPr>
            <p:ph type="ftr" sz="quarter" idx="11"/>
          </p:nvPr>
        </p:nvSpPr>
        <p:spPr>
          <a:xfrm>
            <a:off x="6057900" y="4869657"/>
            <a:ext cx="3086100" cy="273844"/>
          </a:xfrm>
        </p:spPr>
        <p:txBody>
          <a:bodyPr/>
          <a:lstStyle/>
          <a:p>
            <a:pPr algn="r" defTabSz="685800" hangingPunct="1">
              <a:defRPr/>
            </a:pPr>
            <a:r>
              <a:rPr lang="en-US" kern="1200">
                <a:solidFill>
                  <a:prstClr val="black">
                    <a:tint val="75000"/>
                  </a:prstClr>
                </a:solidFill>
                <a:latin typeface="Segoe UI"/>
                <a:ea typeface="+mn-ea"/>
                <a:cs typeface="+mn-cs"/>
              </a:rPr>
              <a:t>Last updated: March 5, 2020</a:t>
            </a:r>
          </a:p>
        </p:txBody>
      </p:sp>
    </p:spTree>
    <p:extLst>
      <p:ext uri="{BB962C8B-B14F-4D97-AF65-F5344CB8AC3E}">
        <p14:creationId xmlns:p14="http://schemas.microsoft.com/office/powerpoint/2010/main" val="1459879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75053"/>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800DE3-CF57-4603-8854-4529CC0A5DD9}"/>
              </a:ext>
            </a:extLst>
          </p:cNvPr>
          <p:cNvSpPr txBox="1"/>
          <p:nvPr/>
        </p:nvSpPr>
        <p:spPr>
          <a:xfrm>
            <a:off x="192306" y="1279089"/>
            <a:ext cx="8759388" cy="25853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Where should you take the exam? </a:t>
            </a:r>
          </a:p>
          <a:p>
            <a:pPr marL="285750" indent="-285750">
              <a:lnSpc>
                <a:spcPct val="150000"/>
              </a:lnSpc>
              <a:buFont typeface="Arial" panose="020B0604020202020204" pitchFamily="34" charset="0"/>
              <a:buChar char="•"/>
            </a:pPr>
            <a:r>
              <a:rPr lang="en-GB" sz="1800" b="1">
                <a:solidFill>
                  <a:srgbClr val="2E93B8"/>
                </a:solidFill>
                <a:latin typeface="Roboto Mono Medium for Powerlin" pitchFamily="2" charset="0"/>
                <a:ea typeface="Roboto Mono Medium for Powerlin" pitchFamily="2" charset="0"/>
              </a:rPr>
              <a:t>First, set a date!</a:t>
            </a:r>
          </a:p>
          <a:p>
            <a:pPr marL="285750" lvl="0" indent="-285750">
              <a:lnSpc>
                <a:spcPct val="150000"/>
              </a:lnSpc>
              <a:buFont typeface="Arial" panose="020B0604020202020204" pitchFamily="34" charset="0"/>
              <a:buChar char="•"/>
            </a:pPr>
            <a:r>
              <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rPr>
              <a:t>Exam packages/deals:</a:t>
            </a:r>
          </a:p>
          <a:p>
            <a:pPr lvl="0">
              <a:lnSpc>
                <a:spcPct val="150000"/>
              </a:lnSpc>
            </a:pPr>
            <a:r>
              <a:rPr lang="en-GB" sz="1800" b="1">
                <a:solidFill>
                  <a:srgbClr val="2E93B8"/>
                </a:solidFill>
                <a:latin typeface="Roboto Mono Medium for Powerlin" pitchFamily="2" charset="0"/>
                <a:ea typeface="Roboto Mono Medium for Powerlin" pitchFamily="2" charset="0"/>
              </a:rPr>
              <a:t>	- Exam Replay</a:t>
            </a:r>
          </a:p>
          <a:p>
            <a:pPr lvl="0">
              <a:lnSpc>
                <a:spcPct val="150000"/>
              </a:lnSpc>
            </a:pPr>
            <a:r>
              <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rPr>
              <a:t>	- Exam Replay</a:t>
            </a:r>
            <a:r>
              <a:rPr kumimoji="0" lang="en-GB" sz="1800" b="1" u="none" strike="noStrike" kern="0" cap="none" spc="0" normalizeH="0" noProof="0">
                <a:ln>
                  <a:noFill/>
                </a:ln>
                <a:solidFill>
                  <a:srgbClr val="2E93B8"/>
                </a:solidFill>
                <a:effectLst/>
                <a:uLnTx/>
                <a:uFillTx/>
                <a:latin typeface="Roboto Mono Medium for Powerlin" pitchFamily="2" charset="0"/>
                <a:ea typeface="Roboto Mono Medium for Powerlin" pitchFamily="2" charset="0"/>
                <a:cs typeface="Arial"/>
                <a:sym typeface="Arial"/>
              </a:rPr>
              <a:t> + Practice Test</a:t>
            </a:r>
          </a:p>
          <a:p>
            <a:pPr lvl="0">
              <a:lnSpc>
                <a:spcPct val="150000"/>
              </a:lnSpc>
            </a:pPr>
            <a:r>
              <a:rPr lang="en-GB" sz="1800" b="1" baseline="0">
                <a:solidFill>
                  <a:srgbClr val="2E93B8"/>
                </a:solidFill>
                <a:latin typeface="Roboto Mono Medium for Powerlin" pitchFamily="2" charset="0"/>
                <a:ea typeface="Roboto Mono Medium for Powerlin" pitchFamily="2" charset="0"/>
              </a:rPr>
              <a:t>	-</a:t>
            </a:r>
            <a:r>
              <a:rPr lang="en-GB" sz="1800" b="1">
                <a:solidFill>
                  <a:srgbClr val="2E93B8"/>
                </a:solidFill>
                <a:latin typeface="Roboto Mono Medium for Powerlin" pitchFamily="2" charset="0"/>
                <a:ea typeface="Roboto Mono Medium for Powerlin" pitchFamily="2" charset="0"/>
              </a:rPr>
              <a:t> Ignite &amp; Ignite The Tour Exam Vouchers For All Attendees</a:t>
            </a:r>
            <a:endParaRPr kumimoji="0" lang="en-GB" sz="1800" b="1" u="none" strike="noStrike" kern="0" cap="none" spc="0" normalizeH="0" baseline="0" noProof="0">
              <a:ln>
                <a:noFill/>
              </a:ln>
              <a:solidFill>
                <a:srgbClr val="2E93B8"/>
              </a:solidFill>
              <a:effectLst/>
              <a:uLnTx/>
              <a:uFillTx/>
              <a:latin typeface="Roboto Mono Medium for Powerlin" pitchFamily="2" charset="0"/>
              <a:ea typeface="Roboto Mono Medium for Powerlin" pitchFamily="2" charset="0"/>
              <a:cs typeface="Arial"/>
              <a:sym typeface="Arial"/>
            </a:endParaRPr>
          </a:p>
        </p:txBody>
      </p:sp>
      <p:pic>
        <p:nvPicPr>
          <p:cNvPr id="5" name="Picture 4">
            <a:extLst>
              <a:ext uri="{FF2B5EF4-FFF2-40B4-BE49-F238E27FC236}">
                <a16:creationId xmlns:a16="http://schemas.microsoft.com/office/drawing/2014/main" id="{6336498D-5AEF-42A3-B193-212A21EA69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619" t="23007" r="11892" b="27916"/>
          <a:stretch/>
        </p:blipFill>
        <p:spPr>
          <a:xfrm>
            <a:off x="8316416" y="66249"/>
            <a:ext cx="769245" cy="487189"/>
          </a:xfrm>
          <a:prstGeom prst="rect">
            <a:avLst/>
          </a:prstGeom>
        </p:spPr>
      </p:pic>
      <p:sp>
        <p:nvSpPr>
          <p:cNvPr id="8" name="Shape 138">
            <a:extLst>
              <a:ext uri="{FF2B5EF4-FFF2-40B4-BE49-F238E27FC236}">
                <a16:creationId xmlns:a16="http://schemas.microsoft.com/office/drawing/2014/main" id="{022A2DF9-416C-4715-A4CE-B77A82E740E9}"/>
              </a:ext>
            </a:extLst>
          </p:cNvPr>
          <p:cNvSpPr/>
          <p:nvPr/>
        </p:nvSpPr>
        <p:spPr>
          <a:xfrm>
            <a:off x="-4072" y="185944"/>
            <a:ext cx="3916505" cy="254954"/>
          </a:xfrm>
          <a:prstGeom prst="rect">
            <a:avLst/>
          </a:prstGeom>
          <a:solidFill>
            <a:schemeClr val="accent2"/>
          </a:solidFill>
          <a:ln w="12700">
            <a:miter lim="400000"/>
          </a:ln>
        </p:spPr>
        <p:txBody>
          <a:bodyPr lIns="45719" rIns="45719"/>
          <a:lstStyle/>
          <a:p>
            <a:pPr marL="0" marR="0" lvl="0" indent="0" algn="ctr" defTabSz="914400" rtl="0" eaLnBrk="1" fontAlgn="auto" latinLnBrk="0" hangingPunct="0">
              <a:lnSpc>
                <a:spcPct val="100000"/>
              </a:lnSpc>
              <a:spcBef>
                <a:spcPts val="0"/>
              </a:spcBef>
              <a:spcAft>
                <a:spcPts val="0"/>
              </a:spcAft>
              <a:buClrTx/>
              <a:buSzTx/>
              <a:buFontTx/>
              <a:buNone/>
              <a:tabLst/>
              <a:defRPr sz="1800">
                <a:latin typeface="Calibri"/>
                <a:ea typeface="Calibri"/>
                <a:cs typeface="Calibri"/>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9" name="Shape 139">
            <a:extLst>
              <a:ext uri="{FF2B5EF4-FFF2-40B4-BE49-F238E27FC236}">
                <a16:creationId xmlns:a16="http://schemas.microsoft.com/office/drawing/2014/main" id="{2448901E-48B7-4417-BBB0-4E51F689A76D}"/>
              </a:ext>
            </a:extLst>
          </p:cNvPr>
          <p:cNvSpPr/>
          <p:nvPr/>
        </p:nvSpPr>
        <p:spPr>
          <a:xfrm>
            <a:off x="384612" y="171738"/>
            <a:ext cx="3971364" cy="3817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a:defRPr sz="1800" b="1">
                <a:solidFill>
                  <a:srgbClr val="FFFFFF"/>
                </a:solidFill>
                <a:latin typeface="Verdana"/>
                <a:ea typeface="Verdana"/>
                <a:cs typeface="Verdana"/>
                <a:sym typeface="Verdan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a:ea typeface="Verdana"/>
                <a:sym typeface="Verdana"/>
              </a:rPr>
              <a:t>TEST CENTRE OR REMOTE</a:t>
            </a:r>
            <a:endParaRPr kumimoji="0" sz="1800" b="1" i="0" u="none" strike="noStrike" kern="0" cap="none" spc="0" normalizeH="0" baseline="0" noProof="0">
              <a:ln>
                <a:noFill/>
              </a:ln>
              <a:solidFill>
                <a:srgbClr val="FFFFFF"/>
              </a:solidFill>
              <a:effectLst/>
              <a:uLnTx/>
              <a:uFillTx/>
              <a:latin typeface="Verdana"/>
              <a:ea typeface="Verdana"/>
              <a:sym typeface="Verdana"/>
            </a:endParaRPr>
          </a:p>
        </p:txBody>
      </p:sp>
    </p:spTree>
    <p:extLst>
      <p:ext uri="{BB962C8B-B14F-4D97-AF65-F5344CB8AC3E}">
        <p14:creationId xmlns:p14="http://schemas.microsoft.com/office/powerpoint/2010/main" val="2783307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2">
  <a:themeElements>
    <a:clrScheme name="simple-light-2">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simple-light-2">
      <a:majorFont>
        <a:latin typeface="Helvetica Neue"/>
        <a:ea typeface="Helvetica Neue"/>
        <a:cs typeface="Helvetica Neue"/>
      </a:majorFont>
      <a:minorFont>
        <a:latin typeface="Helvetica"/>
        <a:ea typeface="Helvetica"/>
        <a:cs typeface="Helvetica"/>
      </a:minorFont>
    </a:fontScheme>
    <a:fmtScheme name="simple-light-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2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1.xml><?xml version="1.0" encoding="utf-8"?>
<a:theme xmlns:a="http://schemas.openxmlformats.org/drawingml/2006/main" name="2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61D7B962-622B-4DC8-9E08-BFEB6217D16A}"/>
    </a:ext>
  </a:extLst>
</a:theme>
</file>

<file path=ppt/theme/theme12.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3.xml><?xml version="1.0" encoding="utf-8"?>
<a:theme xmlns:a="http://schemas.openxmlformats.org/drawingml/2006/main" name="4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14.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15.xml><?xml version="1.0" encoding="utf-8"?>
<a:theme xmlns:a="http://schemas.openxmlformats.org/drawingml/2006/main" name="5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potx" id="{FAF767A5-BCA3-49EF-AE3A-1B2ED41E981A}" vid="{079C5C20-462B-42D4-8EFB-8051F7048BDC}"/>
    </a:ext>
  </a:extLst>
</a:theme>
</file>

<file path=ppt/theme/theme1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simple-light-2">
  <a:themeElements>
    <a:clrScheme name="simple-light-2">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simple-light-2">
      <a:majorFont>
        <a:latin typeface="Helvetica Neue"/>
        <a:ea typeface="Helvetica Neue"/>
        <a:cs typeface="Helvetica Neue"/>
      </a:majorFont>
      <a:minorFont>
        <a:latin typeface="Helvetica"/>
        <a:ea typeface="Helvetica"/>
        <a:cs typeface="Helvetica"/>
      </a:minorFont>
    </a:fontScheme>
    <a:fmtScheme name="simple-light-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DW Townhall Template">
  <a:themeElements>
    <a:clrScheme name="CDW Updated Color Palette">
      <a:dk1>
        <a:srgbClr val="4D4D4F"/>
      </a:dk1>
      <a:lt1>
        <a:sysClr val="window" lastClr="FFFFFF"/>
      </a:lt1>
      <a:dk2>
        <a:srgbClr val="CC0000"/>
      </a:dk2>
      <a:lt2>
        <a:srgbClr val="D1D0CE"/>
      </a:lt2>
      <a:accent1>
        <a:srgbClr val="007299"/>
      </a:accent1>
      <a:accent2>
        <a:srgbClr val="009483"/>
      </a:accent2>
      <a:accent3>
        <a:srgbClr val="F28B00"/>
      </a:accent3>
      <a:accent4>
        <a:srgbClr val="76236D"/>
      </a:accent4>
      <a:accent5>
        <a:srgbClr val="B42573"/>
      </a:accent5>
      <a:accent6>
        <a:srgbClr val="F2BD7D"/>
      </a:accent6>
      <a:hlink>
        <a:srgbClr val="9ADADA"/>
      </a:hlink>
      <a:folHlink>
        <a:srgbClr val="CEADD0"/>
      </a:folHlink>
    </a:clrScheme>
    <a:fontScheme name="CDW Fonts">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cap="rnd">
          <a:solidFill>
            <a:schemeClr val="tx2"/>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smtClean="0"/>
        </a:defPPr>
      </a:lstStyle>
    </a:txDef>
  </a:objectDefaults>
  <a:extraClrSchemeLst/>
</a:theme>
</file>

<file path=ppt/theme/theme3.xml><?xml version="1.0" encoding="utf-8"?>
<a:theme xmlns:a="http://schemas.openxmlformats.org/drawingml/2006/main" name="2_CDW Townhall Template">
  <a:themeElements>
    <a:clrScheme name="CDW Updated Color Palette">
      <a:dk1>
        <a:srgbClr val="4D4D4F"/>
      </a:dk1>
      <a:lt1>
        <a:sysClr val="window" lastClr="FFFFFF"/>
      </a:lt1>
      <a:dk2>
        <a:srgbClr val="CC0000"/>
      </a:dk2>
      <a:lt2>
        <a:srgbClr val="D1D0CE"/>
      </a:lt2>
      <a:accent1>
        <a:srgbClr val="007299"/>
      </a:accent1>
      <a:accent2>
        <a:srgbClr val="009483"/>
      </a:accent2>
      <a:accent3>
        <a:srgbClr val="F28B00"/>
      </a:accent3>
      <a:accent4>
        <a:srgbClr val="76236D"/>
      </a:accent4>
      <a:accent5>
        <a:srgbClr val="B42573"/>
      </a:accent5>
      <a:accent6>
        <a:srgbClr val="F2BD7D"/>
      </a:accent6>
      <a:hlink>
        <a:srgbClr val="9ADADA"/>
      </a:hlink>
      <a:folHlink>
        <a:srgbClr val="CEADD0"/>
      </a:folHlink>
    </a:clrScheme>
    <a:fontScheme name="CDW Fonts">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cap="rnd">
          <a:solidFill>
            <a:schemeClr val="tx2"/>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smtClean="0"/>
        </a:defPPr>
      </a:lstStyle>
    </a:txDef>
  </a:objectDefaults>
  <a:extraClrSchemeLst/>
</a:theme>
</file>

<file path=ppt/theme/theme4.xml><?xml version="1.0" encoding="utf-8"?>
<a:theme xmlns:a="http://schemas.openxmlformats.org/drawingml/2006/main" name="1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5.xml><?xml version="1.0" encoding="utf-8"?>
<a:theme xmlns:a="http://schemas.openxmlformats.org/drawingml/2006/main" name="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6.xml><?xml version="1.0" encoding="utf-8"?>
<a:theme xmlns:a="http://schemas.openxmlformats.org/drawingml/2006/main" name="7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7.xml><?xml version="1.0" encoding="utf-8"?>
<a:theme xmlns:a="http://schemas.openxmlformats.org/drawingml/2006/main" name="C+E Azure 2018">
  <a:themeElements>
    <a:clrScheme name="Azure 2018">
      <a:dk1>
        <a:srgbClr val="000000"/>
      </a:dk1>
      <a:lt1>
        <a:srgbClr val="FFFFFF"/>
      </a:lt1>
      <a:dk2>
        <a:srgbClr val="3C3C41"/>
      </a:dk2>
      <a:lt2>
        <a:srgbClr val="EBEBEB"/>
      </a:lt2>
      <a:accent1>
        <a:srgbClr val="0078D3"/>
      </a:accent1>
      <a:accent2>
        <a:srgbClr val="50E6FF"/>
      </a:accent2>
      <a:accent3>
        <a:srgbClr val="3C3C41"/>
      </a:accent3>
      <a:accent4>
        <a:srgbClr val="757579"/>
      </a:accent4>
      <a:accent5>
        <a:srgbClr val="EBEBEB"/>
      </a:accent5>
      <a:accent6>
        <a:srgbClr val="FFFFFF"/>
      </a:accent6>
      <a:hlink>
        <a:srgbClr val="0078D3"/>
      </a:hlink>
      <a:folHlink>
        <a:srgbClr val="50E6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61D7B962-622B-4DC8-9E08-BFEB6217D16A}"/>
    </a:ext>
  </a:extLst>
</a:theme>
</file>

<file path=ppt/theme/theme9.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4CF017F4D24F840889840FAE048FE3A" ma:contentTypeVersion="10" ma:contentTypeDescription="Create a new document." ma:contentTypeScope="" ma:versionID="617d6a7e0ec6f7025d56289ec94b8d4b">
  <xsd:schema xmlns:xsd="http://www.w3.org/2001/XMLSchema" xmlns:xs="http://www.w3.org/2001/XMLSchema" xmlns:p="http://schemas.microsoft.com/office/2006/metadata/properties" xmlns:ns2="c59ee62a-5dd2-44db-af47-540f594c9f4b" xmlns:ns3="8a536f77-d2e6-415d-8f62-7b08f055e2a8" targetNamespace="http://schemas.microsoft.com/office/2006/metadata/properties" ma:root="true" ma:fieldsID="50dd05e735865f5ad2dc662322ad5b95" ns2:_="" ns3:_="">
    <xsd:import namespace="c59ee62a-5dd2-44db-af47-540f594c9f4b"/>
    <xsd:import namespace="8a536f77-d2e6-415d-8f62-7b08f055e2a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ee62a-5dd2-44db-af47-540f594c9f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536f77-d2e6-415d-8f62-7b08f055e2a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8FC47C-E740-487D-BDD1-FEF9F3E06D7C}">
  <ds:schemaRefs>
    <ds:schemaRef ds:uri="http://schemas.microsoft.com/sharepoint/v3/contenttype/forms"/>
  </ds:schemaRefs>
</ds:datastoreItem>
</file>

<file path=customXml/itemProps2.xml><?xml version="1.0" encoding="utf-8"?>
<ds:datastoreItem xmlns:ds="http://schemas.openxmlformats.org/officeDocument/2006/customXml" ds:itemID="{25220897-2739-491F-8C51-412467B999FC}">
  <ds:schemaRefs>
    <ds:schemaRef ds:uri="http://purl.org/dc/elements/1.1/"/>
    <ds:schemaRef ds:uri="8a536f77-d2e6-415d-8f62-7b08f055e2a8"/>
    <ds:schemaRef ds:uri="http://www.w3.org/XML/1998/namespace"/>
    <ds:schemaRef ds:uri="http://purl.org/dc/dcmitype/"/>
    <ds:schemaRef ds:uri="http://purl.org/dc/terms/"/>
    <ds:schemaRef ds:uri="c59ee62a-5dd2-44db-af47-540f594c9f4b"/>
    <ds:schemaRef ds:uri="http://schemas.microsoft.com/office/infopath/2007/PartnerControls"/>
    <ds:schemaRef ds:uri="http://schemas.microsoft.com/office/2006/metadata/properties"/>
    <ds:schemaRef ds:uri="http://schemas.microsoft.com/office/2006/documentManagement/types"/>
    <ds:schemaRef ds:uri="http://schemas.openxmlformats.org/package/2006/metadata/core-properties"/>
  </ds:schemaRefs>
</ds:datastoreItem>
</file>

<file path=customXml/itemProps3.xml><?xml version="1.0" encoding="utf-8"?>
<ds:datastoreItem xmlns:ds="http://schemas.openxmlformats.org/officeDocument/2006/customXml" ds:itemID="{98A97FCE-0366-4533-A97F-14891AFFCD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9ee62a-5dd2-44db-af47-540f594c9f4b"/>
    <ds:schemaRef ds:uri="8a536f77-d2e6-415d-8f62-7b08f055e2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TotalTime>
  <Words>926</Words>
  <Application>Microsoft Office PowerPoint</Application>
  <PresentationFormat>On-screen Show (16:9)</PresentationFormat>
  <Paragraphs>148</Paragraphs>
  <Slides>17</Slides>
  <Notes>16</Notes>
  <HiddenSlides>0</HiddenSlides>
  <MMClips>0</MMClips>
  <ScaleCrop>false</ScaleCrop>
  <HeadingPairs>
    <vt:vector size="8" baseType="variant">
      <vt:variant>
        <vt:lpstr>Fonts Used</vt:lpstr>
      </vt:variant>
      <vt:variant>
        <vt:i4>13</vt:i4>
      </vt:variant>
      <vt:variant>
        <vt:lpstr>Theme</vt:lpstr>
      </vt:variant>
      <vt:variant>
        <vt:i4>16</vt:i4>
      </vt:variant>
      <vt:variant>
        <vt:lpstr>Embedded OLE Servers</vt:lpstr>
      </vt:variant>
      <vt:variant>
        <vt:i4>1</vt:i4>
      </vt:variant>
      <vt:variant>
        <vt:lpstr>Slide Titles</vt:lpstr>
      </vt:variant>
      <vt:variant>
        <vt:i4>17</vt:i4>
      </vt:variant>
    </vt:vector>
  </HeadingPairs>
  <TitlesOfParts>
    <vt:vector size="47" baseType="lpstr">
      <vt:lpstr>Arial</vt:lpstr>
      <vt:lpstr>Calibri</vt:lpstr>
      <vt:lpstr>Calibri Light</vt:lpstr>
      <vt:lpstr>Consolas</vt:lpstr>
      <vt:lpstr>Helvetica</vt:lpstr>
      <vt:lpstr>Helvetica Neue</vt:lpstr>
      <vt:lpstr>Roboto Mono Medium for Powerlin</vt:lpstr>
      <vt:lpstr>Segoe UI</vt:lpstr>
      <vt:lpstr>Segoe UI Light</vt:lpstr>
      <vt:lpstr>Segoe UI Semibold</vt:lpstr>
      <vt:lpstr>Segoe UI Semilight</vt:lpstr>
      <vt:lpstr>Verdana</vt:lpstr>
      <vt:lpstr>Wingdings</vt:lpstr>
      <vt:lpstr>simple-light-2</vt:lpstr>
      <vt:lpstr>CDW Townhall Template</vt:lpstr>
      <vt:lpstr>2_CDW Townhall Template</vt:lpstr>
      <vt:lpstr>1_White Template</vt:lpstr>
      <vt:lpstr>Black Template</vt:lpstr>
      <vt:lpstr>7_WHITE TEMPLATE</vt:lpstr>
      <vt:lpstr>C+E Azure 2018</vt:lpstr>
      <vt:lpstr>1_Black Template</vt:lpstr>
      <vt:lpstr>Light Gray Template</vt:lpstr>
      <vt:lpstr>2_White Template</vt:lpstr>
      <vt:lpstr>2_Black Template</vt:lpstr>
      <vt:lpstr>3_White Template</vt:lpstr>
      <vt:lpstr>4_White Template</vt:lpstr>
      <vt:lpstr>9-51052_Microsoft_Inspire_Template_Light</vt:lpstr>
      <vt:lpstr>5_WHITE TEMPLATE</vt:lpstr>
      <vt:lpstr>3_Office Theme</vt:lpstr>
      <vt:lpstr>think-cell Slide</vt:lpstr>
      <vt:lpstr>PowerPoint Presentation</vt:lpstr>
      <vt:lpstr>PowerPoint Presentation</vt:lpstr>
      <vt:lpstr>PowerPoint Presentation</vt:lpstr>
      <vt:lpstr>PowerPoint Presentation</vt:lpstr>
      <vt:lpstr>Azure Exams &amp; Certifications   With   Jack Tracey – Cloud Solution Architect @ Microsoft Ryan Littlemore – Azure Infrastructure Specialist @ Microsoft Paul Grimley – Cloud Solution Architect @ Microsoft</vt:lpstr>
      <vt:lpstr>PowerPoint Presentation</vt:lpstr>
      <vt:lpstr>PowerPoint Presentation</vt:lpstr>
      <vt:lpstr>Microsoft Certific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W  UK CORPORATE PRESENTATION</dc:title>
  <dc:creator>Jack Tracey</dc:creator>
  <cp:lastModifiedBy>Jack Tracey</cp:lastModifiedBy>
  <cp:revision>2</cp:revision>
  <dcterms:created xsi:type="dcterms:W3CDTF">2016-03-11T15:24:30Z</dcterms:created>
  <dcterms:modified xsi:type="dcterms:W3CDTF">2020-04-10T17:16:48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CF017F4D24F840889840FAE048FE3A</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rylittle@microsoft.com</vt:lpwstr>
  </property>
  <property fmtid="{D5CDD505-2E9C-101B-9397-08002B2CF9AE}" pid="6" name="MSIP_Label_f42aa342-8706-4288-bd11-ebb85995028c_SetDate">
    <vt:lpwstr>2019-10-24T15:36:37.1976277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047c5afa-b223-4e3b-8499-8c9d803e8b9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MarkAsFinal">
    <vt:bool>true</vt:bool>
  </property>
</Properties>
</file>